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3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4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6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7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slideLayouts/slideLayout163.xml" ContentType="application/vnd.openxmlformats-officedocument.presentationml.slideLayout+xml"/>
  <Override PartName="/ppt/theme/theme19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0.xml" ContentType="application/vnd.openxmlformats-officedocument.theme+xml"/>
  <Override PartName="/ppt/slideLayouts/slideLayout166.xml" ContentType="application/vnd.openxmlformats-officedocument.presentationml.slideLayout+xml"/>
  <Override PartName="/ppt/theme/theme21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2.xml" ContentType="application/vnd.openxmlformats-officedocument.theme+xml"/>
  <Override PartName="/ppt/slideLayouts/slideLayout169.xml" ContentType="application/vnd.openxmlformats-officedocument.presentationml.slideLayout+xml"/>
  <Override PartName="/ppt/theme/theme23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24.xml" ContentType="application/vnd.openxmlformats-officedocument.theme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26.xml" ContentType="application/vnd.openxmlformats-officedocument.theme+xml"/>
  <Override PartName="/ppt/slideLayouts/slideLayout175.xml" ContentType="application/vnd.openxmlformats-officedocument.presentationml.slideLayout+xml"/>
  <Override PartName="/ppt/theme/theme27.xml" ContentType="application/vnd.openxmlformats-officedocument.theme+xml"/>
  <Override PartName="/ppt/slideLayouts/slideLayout176.xml" ContentType="application/vnd.openxmlformats-officedocument.presentationml.slideLayout+xml"/>
  <Override PartName="/ppt/theme/theme28.xml" ContentType="application/vnd.openxmlformats-officedocument.theme+xml"/>
  <Override PartName="/ppt/slideLayouts/slideLayout177.xml" ContentType="application/vnd.openxmlformats-officedocument.presentationml.slideLayout+xml"/>
  <Override PartName="/ppt/theme/theme29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30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31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32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33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4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35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36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37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38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39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40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41.xml" ContentType="application/vnd.openxmlformats-officedocument.theme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42.xml" ContentType="application/vnd.openxmlformats-officedocument.theme+xml"/>
  <Override PartName="/ppt/slideLayouts/slideLayout321.xml" ContentType="application/vnd.openxmlformats-officedocument.presentationml.slideLayout+xml"/>
  <Override PartName="/ppt/theme/theme43.xml" ContentType="application/vnd.openxmlformats-officedocument.theme+xml"/>
  <Override PartName="/ppt/slideLayouts/slideLayout322.xml" ContentType="application/vnd.openxmlformats-officedocument.presentationml.slideLayout+xml"/>
  <Override PartName="/ppt/theme/theme44.xml" ContentType="application/vnd.openxmlformats-officedocument.theme+xml"/>
  <Override PartName="/ppt/theme/theme45.xml" ContentType="application/vnd.openxmlformats-officedocument.theme+xml"/>
  <Override PartName="/ppt/theme/theme4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685" r:id="rId2"/>
    <p:sldMasterId id="2147483705" r:id="rId3"/>
    <p:sldMasterId id="2147483715" r:id="rId4"/>
    <p:sldMasterId id="2147483716" r:id="rId5"/>
    <p:sldMasterId id="2147483717" r:id="rId6"/>
    <p:sldMasterId id="2147483718" r:id="rId7"/>
    <p:sldMasterId id="2147483719" r:id="rId8"/>
    <p:sldMasterId id="2147483720" r:id="rId9"/>
    <p:sldMasterId id="2147483721" r:id="rId10"/>
    <p:sldMasterId id="2147483722" r:id="rId11"/>
    <p:sldMasterId id="2147483723" r:id="rId12"/>
    <p:sldMasterId id="2147483724" r:id="rId13"/>
    <p:sldMasterId id="2147483725" r:id="rId14"/>
    <p:sldMasterId id="2147483726" r:id="rId15"/>
    <p:sldMasterId id="2147483727" r:id="rId16"/>
    <p:sldMasterId id="2147483728" r:id="rId17"/>
    <p:sldMasterId id="2147483661" r:id="rId18"/>
    <p:sldMasterId id="2147483701" r:id="rId19"/>
    <p:sldMasterId id="2147483664" r:id="rId20"/>
    <p:sldMasterId id="2147483699" r:id="rId21"/>
    <p:sldMasterId id="2147483666" r:id="rId22"/>
    <p:sldMasterId id="2147483697" r:id="rId23"/>
    <p:sldMasterId id="2147483668" r:id="rId24"/>
    <p:sldMasterId id="2147483695" r:id="rId25"/>
    <p:sldMasterId id="2147483670" r:id="rId26"/>
    <p:sldMasterId id="2147483693" r:id="rId27"/>
    <p:sldMasterId id="2147483681" r:id="rId28"/>
    <p:sldMasterId id="2147483689" r:id="rId29"/>
    <p:sldMasterId id="2147483730" r:id="rId30"/>
    <p:sldMasterId id="2147483731" r:id="rId31"/>
    <p:sldMasterId id="2147483732" r:id="rId32"/>
    <p:sldMasterId id="2147483733" r:id="rId33"/>
    <p:sldMasterId id="2147483734" r:id="rId34"/>
    <p:sldMasterId id="2147483729" r:id="rId35"/>
    <p:sldMasterId id="2147483735" r:id="rId36"/>
    <p:sldMasterId id="2147483736" r:id="rId37"/>
    <p:sldMasterId id="2147483739" r:id="rId38"/>
    <p:sldMasterId id="2147483740" r:id="rId39"/>
    <p:sldMasterId id="2147483741" r:id="rId40"/>
    <p:sldMasterId id="2147483742" r:id="rId41"/>
    <p:sldMasterId id="2147483747" r:id="rId42"/>
    <p:sldMasterId id="2147484074" r:id="rId43"/>
    <p:sldMasterId id="2147484081" r:id="rId44"/>
  </p:sldMasterIdLst>
  <p:notesMasterIdLst>
    <p:notesMasterId r:id="rId60"/>
  </p:notesMasterIdLst>
  <p:handoutMasterIdLst>
    <p:handoutMasterId r:id="rId61"/>
  </p:handoutMasterIdLst>
  <p:sldIdLst>
    <p:sldId id="480" r:id="rId45"/>
    <p:sldId id="488" r:id="rId46"/>
    <p:sldId id="416" r:id="rId47"/>
    <p:sldId id="481" r:id="rId48"/>
    <p:sldId id="482" r:id="rId49"/>
    <p:sldId id="483" r:id="rId50"/>
    <p:sldId id="486" r:id="rId51"/>
    <p:sldId id="487" r:id="rId52"/>
    <p:sldId id="489" r:id="rId53"/>
    <p:sldId id="490" r:id="rId54"/>
    <p:sldId id="491" r:id="rId55"/>
    <p:sldId id="492" r:id="rId56"/>
    <p:sldId id="493" r:id="rId57"/>
    <p:sldId id="495" r:id="rId58"/>
    <p:sldId id="496" r:id="rId59"/>
  </p:sldIdLst>
  <p:sldSz cx="9144000" cy="6858000" type="screen4x3"/>
  <p:notesSz cx="6797675" cy="9926638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dalena Kochanowska" initials="MK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C5C"/>
    <a:srgbClr val="5564D3"/>
    <a:srgbClr val="11897D"/>
    <a:srgbClr val="2A3990"/>
    <a:srgbClr val="4D4D4D"/>
    <a:srgbClr val="0F0102"/>
    <a:srgbClr val="D98027"/>
    <a:srgbClr val="808080"/>
    <a:srgbClr val="E740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5" autoAdjust="0"/>
    <p:restoredTop sz="94668" autoAdjust="0"/>
  </p:normalViewPr>
  <p:slideViewPr>
    <p:cSldViewPr>
      <p:cViewPr varScale="1">
        <p:scale>
          <a:sx n="81" d="100"/>
          <a:sy n="81" d="100"/>
        </p:scale>
        <p:origin x="108" y="4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5" d="100"/>
        <a:sy n="85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0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3.xml"/><Relationship Id="rId50" Type="http://schemas.openxmlformats.org/officeDocument/2006/relationships/slide" Target="slides/slide6.xml"/><Relationship Id="rId55" Type="http://schemas.openxmlformats.org/officeDocument/2006/relationships/slide" Target="slides/slide11.xml"/><Relationship Id="rId63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1.xml"/><Relationship Id="rId53" Type="http://schemas.openxmlformats.org/officeDocument/2006/relationships/slide" Target="slides/slide9.xml"/><Relationship Id="rId58" Type="http://schemas.openxmlformats.org/officeDocument/2006/relationships/slide" Target="slides/slide14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handoutMaster" Target="handoutMasters/handoutMaster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4.xml"/><Relationship Id="rId56" Type="http://schemas.openxmlformats.org/officeDocument/2006/relationships/slide" Target="slides/slide12.xml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2.xml"/><Relationship Id="rId59" Type="http://schemas.openxmlformats.org/officeDocument/2006/relationships/slide" Target="slides/slide15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0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5.xml"/><Relationship Id="rId57" Type="http://schemas.openxmlformats.org/officeDocument/2006/relationships/slide" Target="slides/slide13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8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133841C-1D41-4C64-A4B9-AFA77302E20F}" type="datetimeFigureOut">
              <a:rPr lang="pl-PL"/>
              <a:pPr>
                <a:defRPr/>
              </a:pPr>
              <a:t>25.03.2019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B008C14-C066-4262-8DF9-72A5EB35547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28278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C4E1357-CCDE-41B1-A2C8-8727157000AD}" type="datetimeFigureOut">
              <a:rPr lang="pl-PL"/>
              <a:pPr>
                <a:defRPr/>
              </a:pPr>
              <a:t>25.03.2019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02381B-77C1-47E8-AA95-561A59933F40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185423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8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4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17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3.xml"/><Relationship Id="rId4" Type="http://schemas.openxmlformats.org/officeDocument/2006/relationships/image" Target="../media/image44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4.xml"/><Relationship Id="rId4" Type="http://schemas.openxmlformats.org/officeDocument/2006/relationships/image" Target="../media/image47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85317748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475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560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7505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06674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62889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167324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21299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40479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758390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826500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978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616326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1132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56249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305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97974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352035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801331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754009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63558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26088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13885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757861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219055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91344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81859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873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300759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443947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58548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07303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2435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24615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4065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56104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27061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0062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68185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97151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0156449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962190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874181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70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75654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268259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445947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670410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91468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30349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0916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83795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229475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5103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0788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44872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0350127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218336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947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474441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79123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856948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1990215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0733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011952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536931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2745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746161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44135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79194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pomarańcz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B54CF6-2CF0-4224-B416-6AACF3A0D2B4}" type="slidenum">
              <a:rPr lang="pl-PL" sz="1200" b="1" smtClean="0">
                <a:solidFill>
                  <a:srgbClr val="F36B23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36B23"/>
              </a:solidFill>
            </a:endParaRPr>
          </a:p>
        </p:txBody>
      </p:sp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36B23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3950857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624777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687315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żółt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C53F964-D04E-4997-A598-90338271AE1C}" type="slidenum">
              <a:rPr lang="pl-PL" sz="1200" b="1" smtClean="0">
                <a:solidFill>
                  <a:srgbClr val="FCB319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CB319"/>
              </a:solidFill>
            </a:endParaRPr>
          </a:p>
        </p:txBody>
      </p:sp>
      <p:pic>
        <p:nvPicPr>
          <p:cNvPr id="7" name="Picture 3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CB319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23305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14161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46440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ramka_slajd róż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541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9111DD2-DF12-4789-A2A1-BC6CF59B69ED}" type="slidenum">
              <a:rPr lang="pl-PL" sz="1200" b="1" smtClean="0">
                <a:solidFill>
                  <a:srgbClr val="EF559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F559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0"/>
            <a:ext cx="7272288" cy="792087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6004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F559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2930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583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2833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06484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fiolet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95425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378EF192-3813-4F61-9396-6AF9E2A1F78D}" type="slidenum">
              <a:rPr lang="pl-PL" sz="1200" b="1" smtClean="0">
                <a:solidFill>
                  <a:srgbClr val="424CA0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24CA0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24CA0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284450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886761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25817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turkus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DC6487-B0D1-45F3-8602-7D123E6E933A}" type="slidenum">
              <a:rPr lang="pl-PL" sz="1200" b="1" smtClean="0">
                <a:solidFill>
                  <a:srgbClr val="49C7ED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9C7ED"/>
              </a:solidFill>
            </a:endParaRPr>
          </a:p>
        </p:txBody>
      </p:sp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557338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9C7ED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4246587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078871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0023632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49474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153777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1718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54525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988648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27165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37923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52101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20905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142490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336255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11285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92362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304279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46024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674573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809937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441380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95386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118995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65137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066513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010049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70554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53303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68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1401636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3497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920310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0261618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635284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4563049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0399901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12315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950851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603517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080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58741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301249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25348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2053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9389012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019773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830303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89253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89152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3356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26088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8779173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06405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524911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6813508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830860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7551141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584669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60213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47609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88126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6980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8006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5645876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99615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422025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6576565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65246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0934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934768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584088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913031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18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8219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011178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2300184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21129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921291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8985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7416254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2786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432677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90335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0746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8835336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73122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61807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342187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899971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766634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771843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126379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796349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700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4021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9985937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9406593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2296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374602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44422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323155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69673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6814883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427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8717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2999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89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907761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73983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7713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771096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1667471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7801920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165676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75162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6422729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616663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6592892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44003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246119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4073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0631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078971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841534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9131748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443303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26633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2486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202607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7846584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672895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45957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68972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515133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82017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120574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27585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230202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93615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3308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33469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49767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8780586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99892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343922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848564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09709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538340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566312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2352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3851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015651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667121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3163562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50102718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6311167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9447392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9535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77555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68455400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1862383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51623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857773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483800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ziel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25" y="5911850"/>
            <a:ext cx="269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A8776DE-50C3-408D-B189-A0618838900B}" type="slidenum">
              <a:rPr lang="pl-PL" sz="1200" b="1" smtClean="0">
                <a:solidFill>
                  <a:srgbClr val="72BF4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72BF44"/>
              </a:solidFill>
            </a:endParaRPr>
          </a:p>
        </p:txBody>
      </p:sp>
      <p:sp>
        <p:nvSpPr>
          <p:cNvPr id="10" name="Prostokąt 9"/>
          <p:cNvSpPr/>
          <p:nvPr userDrawn="1"/>
        </p:nvSpPr>
        <p:spPr>
          <a:xfrm>
            <a:off x="5219700" y="765175"/>
            <a:ext cx="2376488" cy="719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8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9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72BF4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4019135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ramka_slajd czerw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415925" y="5848350"/>
            <a:ext cx="8248650" cy="6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395288" y="1538288"/>
            <a:ext cx="8248650" cy="6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E8BC3978-235A-4FFF-8D8C-C9F7A6DF896A}" type="slidenum">
              <a:rPr lang="pl-PL" sz="1200" b="1" smtClean="0">
                <a:solidFill>
                  <a:srgbClr val="ED1C2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D1C2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D1C24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498554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7477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8813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4247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932920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3235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6089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3712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075AADEE-B4BD-422A-9E72-D4F5687AD49F}" type="slidenum">
              <a:rPr lang="pl-PL" sz="1200" b="1" smtClean="0">
                <a:solidFill>
                  <a:srgbClr val="11897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1897D"/>
              </a:solidFill>
              <a:latin typeface="Arial" charset="0"/>
            </a:endParaRPr>
          </a:p>
        </p:txBody>
      </p:sp>
      <p:pic>
        <p:nvPicPr>
          <p:cNvPr id="9" name="Picture 10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628775"/>
            <a:ext cx="8277225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5400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77225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 baseline="0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00AEEF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83560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5324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5974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002498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22656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0363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9643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9936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46070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579115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646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853035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06317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8613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546746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278097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488472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435372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00680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8043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06025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1236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1879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5609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621444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38411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19545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842887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9511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79128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19964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88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50385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94994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73952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37799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38548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428881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133822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476197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8714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079207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7084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69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118529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845589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499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91024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80827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986663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99405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465035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702573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5564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1374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2290239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2585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13170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704498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005243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238420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7967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749611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12825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171611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86588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6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6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169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heme" Target="../theme/theme2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17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176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9.xml"/><Relationship Id="rId1" Type="http://schemas.openxmlformats.org/officeDocument/2006/relationships/slideLayout" Target="../slideLayouts/slideLayout17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image" Target="../media/image2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image" Target="../media/image25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image" Target="../media/image28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image" Target="../media/image31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image" Target="../media/image34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image" Target="../media/image2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38.png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image" Target="../media/image37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41.png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image" Target="../media/image40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312.xml"/><Relationship Id="rId7" Type="http://schemas.openxmlformats.org/officeDocument/2006/relationships/slideLayout" Target="../slideLayouts/slideLayout316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310.xml"/><Relationship Id="rId6" Type="http://schemas.openxmlformats.org/officeDocument/2006/relationships/slideLayout" Target="../slideLayouts/slideLayout315.xml"/><Relationship Id="rId11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314.xml"/><Relationship Id="rId10" Type="http://schemas.openxmlformats.org/officeDocument/2006/relationships/slideLayout" Target="../slideLayouts/slideLayout319.xml"/><Relationship Id="rId4" Type="http://schemas.openxmlformats.org/officeDocument/2006/relationships/slideLayout" Target="../slideLayouts/slideLayout313.xml"/><Relationship Id="rId9" Type="http://schemas.openxmlformats.org/officeDocument/2006/relationships/slideLayout" Target="../slideLayouts/slideLayout318.xml"/></Relationships>
</file>

<file path=ppt/slideMasters/_rels/slideMaster43.xml.rels><?xml version="1.0" encoding="UTF-8" standalone="yes"?>
<Relationships xmlns="http://schemas.openxmlformats.org/package/2006/relationships"><Relationship Id="rId2" Type="http://schemas.openxmlformats.org/officeDocument/2006/relationships/theme" Target="../theme/theme43.xml"/><Relationship Id="rId1" Type="http://schemas.openxmlformats.org/officeDocument/2006/relationships/slideLayout" Target="../slideLayouts/slideLayout321.xml"/></Relationships>
</file>

<file path=ppt/slideMasters/_rels/slideMaster4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4.xml"/><Relationship Id="rId1" Type="http://schemas.openxmlformats.org/officeDocument/2006/relationships/slideLayout" Target="../slideLayouts/slideLayout3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381" r:id="rId1"/>
    <p:sldLayoutId id="2147488382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0243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52" r:id="rId1"/>
    <p:sldLayoutId id="2147488453" r:id="rId2"/>
    <p:sldLayoutId id="2147488454" r:id="rId3"/>
    <p:sldLayoutId id="2147488455" r:id="rId4"/>
    <p:sldLayoutId id="2147488456" r:id="rId5"/>
    <p:sldLayoutId id="2147488457" r:id="rId6"/>
    <p:sldLayoutId id="2147488458" r:id="rId7"/>
    <p:sldLayoutId id="2147488459" r:id="rId8"/>
    <p:sldLayoutId id="2147488460" r:id="rId9"/>
    <p:sldLayoutId id="2147488461" r:id="rId10"/>
    <p:sldLayoutId id="21474884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126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63" r:id="rId1"/>
    <p:sldLayoutId id="2147488464" r:id="rId2"/>
    <p:sldLayoutId id="2147488465" r:id="rId3"/>
    <p:sldLayoutId id="2147488466" r:id="rId4"/>
    <p:sldLayoutId id="2147488467" r:id="rId5"/>
    <p:sldLayoutId id="2147488468" r:id="rId6"/>
    <p:sldLayoutId id="2147488469" r:id="rId7"/>
    <p:sldLayoutId id="2147488470" r:id="rId8"/>
    <p:sldLayoutId id="2147488471" r:id="rId9"/>
    <p:sldLayoutId id="2147488472" r:id="rId10"/>
    <p:sldLayoutId id="21474884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2291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74" r:id="rId1"/>
    <p:sldLayoutId id="2147488475" r:id="rId2"/>
    <p:sldLayoutId id="2147488476" r:id="rId3"/>
    <p:sldLayoutId id="2147488477" r:id="rId4"/>
    <p:sldLayoutId id="2147488478" r:id="rId5"/>
    <p:sldLayoutId id="2147488479" r:id="rId6"/>
    <p:sldLayoutId id="2147488480" r:id="rId7"/>
    <p:sldLayoutId id="2147488481" r:id="rId8"/>
    <p:sldLayoutId id="2147488482" r:id="rId9"/>
    <p:sldLayoutId id="2147488483" r:id="rId10"/>
    <p:sldLayoutId id="21474884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331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85" r:id="rId1"/>
    <p:sldLayoutId id="2147488486" r:id="rId2"/>
    <p:sldLayoutId id="2147488487" r:id="rId3"/>
    <p:sldLayoutId id="2147488488" r:id="rId4"/>
    <p:sldLayoutId id="2147488489" r:id="rId5"/>
    <p:sldLayoutId id="2147488490" r:id="rId6"/>
    <p:sldLayoutId id="2147488491" r:id="rId7"/>
    <p:sldLayoutId id="2147488492" r:id="rId8"/>
    <p:sldLayoutId id="2147488493" r:id="rId9"/>
    <p:sldLayoutId id="2147488494" r:id="rId10"/>
    <p:sldLayoutId id="21474884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433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96" r:id="rId1"/>
    <p:sldLayoutId id="2147488497" r:id="rId2"/>
    <p:sldLayoutId id="2147488498" r:id="rId3"/>
    <p:sldLayoutId id="2147488499" r:id="rId4"/>
    <p:sldLayoutId id="2147488500" r:id="rId5"/>
    <p:sldLayoutId id="2147488501" r:id="rId6"/>
    <p:sldLayoutId id="2147488502" r:id="rId7"/>
    <p:sldLayoutId id="2147488503" r:id="rId8"/>
    <p:sldLayoutId id="2147488504" r:id="rId9"/>
    <p:sldLayoutId id="2147488505" r:id="rId10"/>
    <p:sldLayoutId id="21474885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536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07" r:id="rId1"/>
    <p:sldLayoutId id="2147488508" r:id="rId2"/>
    <p:sldLayoutId id="2147488509" r:id="rId3"/>
    <p:sldLayoutId id="2147488510" r:id="rId4"/>
    <p:sldLayoutId id="2147488511" r:id="rId5"/>
    <p:sldLayoutId id="2147488512" r:id="rId6"/>
    <p:sldLayoutId id="2147488513" r:id="rId7"/>
    <p:sldLayoutId id="2147488514" r:id="rId8"/>
    <p:sldLayoutId id="2147488515" r:id="rId9"/>
    <p:sldLayoutId id="2147488516" r:id="rId10"/>
    <p:sldLayoutId id="21474885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638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18" r:id="rId1"/>
    <p:sldLayoutId id="2147488519" r:id="rId2"/>
    <p:sldLayoutId id="2147488520" r:id="rId3"/>
    <p:sldLayoutId id="2147488521" r:id="rId4"/>
    <p:sldLayoutId id="2147488522" r:id="rId5"/>
    <p:sldLayoutId id="2147488523" r:id="rId6"/>
    <p:sldLayoutId id="2147488524" r:id="rId7"/>
    <p:sldLayoutId id="2147488525" r:id="rId8"/>
    <p:sldLayoutId id="2147488526" r:id="rId9"/>
    <p:sldLayoutId id="2147488527" r:id="rId10"/>
    <p:sldLayoutId id="21474885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741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29" r:id="rId1"/>
    <p:sldLayoutId id="2147488530" r:id="rId2"/>
    <p:sldLayoutId id="2147488531" r:id="rId3"/>
    <p:sldLayoutId id="2147488532" r:id="rId4"/>
    <p:sldLayoutId id="2147488533" r:id="rId5"/>
    <p:sldLayoutId id="2147488534" r:id="rId6"/>
    <p:sldLayoutId id="2147488535" r:id="rId7"/>
    <p:sldLayoutId id="2147488536" r:id="rId8"/>
    <p:sldLayoutId id="2147488537" r:id="rId9"/>
    <p:sldLayoutId id="2147488538" r:id="rId10"/>
    <p:sldLayoutId id="21474885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0" r:id="rId1"/>
    <p:sldLayoutId id="2147488696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945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051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3" r:id="rId1"/>
    <p:sldLayoutId id="214748869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697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150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3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4" r:id="rId1"/>
    <p:sldLayoutId id="2147488698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355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5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6" r:id="rId1"/>
    <p:sldLayoutId id="2147488699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560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7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8" r:id="rId1"/>
    <p:sldLayoutId id="2147488700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765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9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8675" name="Picture 5" descr="ramka_slajd z piktogramam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0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969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4" r:id="rId1"/>
    <p:sldLayoutId id="214748838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11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B3DEBA6-C5E2-4420-9D9C-7756A5753017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sp>
        <p:nvSpPr>
          <p:cNvPr id="3072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25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10" descr="2"/>
          <p:cNvPicPr>
            <a:picLocks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5911850"/>
            <a:ext cx="25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12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2" r:id="rId1"/>
    <p:sldLayoutId id="2147488553" r:id="rId2"/>
    <p:sldLayoutId id="2147488554" r:id="rId3"/>
    <p:sldLayoutId id="2147488555" r:id="rId4"/>
    <p:sldLayoutId id="2147488556" r:id="rId5"/>
    <p:sldLayoutId id="2147488557" r:id="rId6"/>
    <p:sldLayoutId id="2147488558" r:id="rId7"/>
    <p:sldLayoutId id="2147488559" r:id="rId8"/>
    <p:sldLayoutId id="2147488560" r:id="rId9"/>
    <p:sldLayoutId id="2147488561" r:id="rId10"/>
    <p:sldLayoutId id="21474885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F1A600DD-18BB-4F35-884F-01B5549BC4C3}" type="slidenum">
              <a:rPr lang="pl-PL" sz="1200" b="1" smtClean="0">
                <a:solidFill>
                  <a:srgbClr val="1B75B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B75BC"/>
              </a:solidFill>
              <a:latin typeface="Arial" charset="0"/>
            </a:endParaRPr>
          </a:p>
        </p:txBody>
      </p:sp>
      <p:sp>
        <p:nvSpPr>
          <p:cNvPr id="3174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174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63" r:id="rId1"/>
    <p:sldLayoutId id="2147488564" r:id="rId2"/>
    <p:sldLayoutId id="2147488565" r:id="rId3"/>
    <p:sldLayoutId id="2147488566" r:id="rId4"/>
    <p:sldLayoutId id="2147488567" r:id="rId5"/>
    <p:sldLayoutId id="2147488568" r:id="rId6"/>
    <p:sldLayoutId id="2147488569" r:id="rId7"/>
    <p:sldLayoutId id="2147488570" r:id="rId8"/>
    <p:sldLayoutId id="2147488571" r:id="rId9"/>
    <p:sldLayoutId id="2147488572" r:id="rId10"/>
    <p:sldLayoutId id="21474885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15900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110A2AA-1970-4455-B7E9-9E503FDB2112}" type="slidenum">
              <a:rPr lang="pl-PL" sz="1200" b="1" smtClean="0">
                <a:solidFill>
                  <a:srgbClr val="DA1C5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DA1C5C"/>
              </a:solidFill>
              <a:latin typeface="Arial" charset="0"/>
            </a:endParaRPr>
          </a:p>
        </p:txBody>
      </p:sp>
      <p:sp>
        <p:nvSpPr>
          <p:cNvPr id="3277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2773" name="Picture 9" descr="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4" name="Picture 10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5" name="Picture 11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74" r:id="rId1"/>
    <p:sldLayoutId id="2147488575" r:id="rId2"/>
    <p:sldLayoutId id="2147488576" r:id="rId3"/>
    <p:sldLayoutId id="2147488577" r:id="rId4"/>
    <p:sldLayoutId id="2147488578" r:id="rId5"/>
    <p:sldLayoutId id="2147488579" r:id="rId6"/>
    <p:sldLayoutId id="2147488580" r:id="rId7"/>
    <p:sldLayoutId id="2147488581" r:id="rId8"/>
    <p:sldLayoutId id="2147488582" r:id="rId9"/>
    <p:sldLayoutId id="2147488583" r:id="rId10"/>
    <p:sldLayoutId id="21474885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DDDC47BE-B189-4ADE-9357-88DA3DECA37E}" type="slidenum">
              <a:rPr lang="pl-PL" sz="1200" b="1" smtClean="0">
                <a:solidFill>
                  <a:srgbClr val="00689E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689E"/>
              </a:solidFill>
              <a:latin typeface="Arial" charset="0"/>
            </a:endParaRPr>
          </a:p>
        </p:txBody>
      </p:sp>
      <p:sp>
        <p:nvSpPr>
          <p:cNvPr id="3379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3797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85" r:id="rId1"/>
    <p:sldLayoutId id="2147488586" r:id="rId2"/>
    <p:sldLayoutId id="2147488587" r:id="rId3"/>
    <p:sldLayoutId id="2147488588" r:id="rId4"/>
    <p:sldLayoutId id="2147488589" r:id="rId5"/>
    <p:sldLayoutId id="2147488590" r:id="rId6"/>
    <p:sldLayoutId id="2147488591" r:id="rId7"/>
    <p:sldLayoutId id="2147488592" r:id="rId8"/>
    <p:sldLayoutId id="2147488593" r:id="rId9"/>
    <p:sldLayoutId id="2147488594" r:id="rId10"/>
    <p:sldLayoutId id="21474885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36EEF6B-7CFE-4E83-9E45-E5B890BF87DD}" type="slidenum">
              <a:rPr lang="pl-PL" sz="1200" b="1" smtClean="0">
                <a:solidFill>
                  <a:srgbClr val="155193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55193"/>
              </a:solidFill>
              <a:latin typeface="Arial" charset="0"/>
            </a:endParaRPr>
          </a:p>
        </p:txBody>
      </p:sp>
      <p:sp>
        <p:nvSpPr>
          <p:cNvPr id="3482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482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Picture 12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13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96" r:id="rId1"/>
    <p:sldLayoutId id="2147488597" r:id="rId2"/>
    <p:sldLayoutId id="2147488598" r:id="rId3"/>
    <p:sldLayoutId id="2147488599" r:id="rId4"/>
    <p:sldLayoutId id="2147488600" r:id="rId5"/>
    <p:sldLayoutId id="2147488601" r:id="rId6"/>
    <p:sldLayoutId id="2147488602" r:id="rId7"/>
    <p:sldLayoutId id="2147488603" r:id="rId8"/>
    <p:sldLayoutId id="2147488604" r:id="rId9"/>
    <p:sldLayoutId id="2147488605" r:id="rId10"/>
    <p:sldLayoutId id="21474886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9" descr="C:\Users\Monika\Desktop\dane\Pisma i wizytówki\Prezentacje\Biuro Zamówień Publicznych\4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1536700"/>
            <a:ext cx="8247062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6588D3F-E1AD-413C-B87D-3CCCE5AFD13F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pic>
        <p:nvPicPr>
          <p:cNvPr id="35845" name="Picture 8" descr="C:\Users\Monika\Desktop\dane\Pisma i wizytówki\Prezentacje\Biuro Zamówień Publicznych\2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015" r="-50015"/>
          <a:stretch>
            <a:fillRect/>
          </a:stretch>
        </p:blipFill>
        <p:spPr bwMode="auto">
          <a:xfrm>
            <a:off x="1011238" y="5911850"/>
            <a:ext cx="603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0015" b="-50015"/>
          <a:stretch>
            <a:fillRect/>
          </a:stretch>
        </p:blipFill>
        <p:spPr bwMode="auto">
          <a:xfrm>
            <a:off x="417513" y="5846763"/>
            <a:ext cx="8247062" cy="6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607" r:id="rId1"/>
    <p:sldLayoutId id="2147488608" r:id="rId2"/>
    <p:sldLayoutId id="2147488609" r:id="rId3"/>
    <p:sldLayoutId id="2147488610" r:id="rId4"/>
    <p:sldLayoutId id="2147488611" r:id="rId5"/>
    <p:sldLayoutId id="2147488612" r:id="rId6"/>
    <p:sldLayoutId id="2147488613" r:id="rId7"/>
    <p:sldLayoutId id="2147488614" r:id="rId8"/>
    <p:sldLayoutId id="2147488615" r:id="rId9"/>
    <p:sldLayoutId id="2147488616" r:id="rId10"/>
    <p:sldLayoutId id="21474886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74AF63DD-D131-4CF3-8FF1-1F2512225EB4}" type="slidenum">
              <a:rPr lang="pl-PL" sz="1200" b="1" smtClean="0">
                <a:solidFill>
                  <a:srgbClr val="0F0102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F0102"/>
              </a:solidFill>
              <a:latin typeface="Arial" charset="0"/>
            </a:endParaRPr>
          </a:p>
        </p:txBody>
      </p:sp>
      <p:sp>
        <p:nvSpPr>
          <p:cNvPr id="3686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686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76925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18" r:id="rId1"/>
    <p:sldLayoutId id="2147488619" r:id="rId2"/>
    <p:sldLayoutId id="2147488620" r:id="rId3"/>
    <p:sldLayoutId id="2147488621" r:id="rId4"/>
    <p:sldLayoutId id="2147488622" r:id="rId5"/>
    <p:sldLayoutId id="2147488623" r:id="rId6"/>
    <p:sldLayoutId id="2147488624" r:id="rId7"/>
    <p:sldLayoutId id="2147488625" r:id="rId8"/>
    <p:sldLayoutId id="2147488626" r:id="rId9"/>
    <p:sldLayoutId id="2147488627" r:id="rId10"/>
    <p:sldLayoutId id="21474886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486D18A3-1316-4A99-8E7C-AE6A48BBEAF5}" type="slidenum">
              <a:rPr lang="pl-PL" sz="1200" b="1" smtClean="0">
                <a:solidFill>
                  <a:srgbClr val="4D4D4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3789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7893" name="Picture 8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9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29" r:id="rId1"/>
    <p:sldLayoutId id="2147488630" r:id="rId2"/>
    <p:sldLayoutId id="2147488631" r:id="rId3"/>
    <p:sldLayoutId id="2147488632" r:id="rId4"/>
    <p:sldLayoutId id="2147488633" r:id="rId5"/>
    <p:sldLayoutId id="2147488634" r:id="rId6"/>
    <p:sldLayoutId id="2147488635" r:id="rId7"/>
    <p:sldLayoutId id="2147488636" r:id="rId8"/>
    <p:sldLayoutId id="2147488637" r:id="rId9"/>
    <p:sldLayoutId id="2147488638" r:id="rId10"/>
    <p:sldLayoutId id="21474886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8916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40" r:id="rId1"/>
    <p:sldLayoutId id="2147488641" r:id="rId2"/>
    <p:sldLayoutId id="2147488642" r:id="rId3"/>
    <p:sldLayoutId id="2147488643" r:id="rId4"/>
    <p:sldLayoutId id="2147488644" r:id="rId5"/>
    <p:sldLayoutId id="2147488645" r:id="rId6"/>
    <p:sldLayoutId id="2147488646" r:id="rId7"/>
    <p:sldLayoutId id="2147488647" r:id="rId8"/>
    <p:sldLayoutId id="2147488648" r:id="rId9"/>
    <p:sldLayoutId id="2147488649" r:id="rId10"/>
    <p:sldLayoutId id="2147488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9939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0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51" r:id="rId1"/>
    <p:sldLayoutId id="2147488652" r:id="rId2"/>
    <p:sldLayoutId id="2147488653" r:id="rId3"/>
    <p:sldLayoutId id="2147488654" r:id="rId4"/>
    <p:sldLayoutId id="2147488655" r:id="rId5"/>
    <p:sldLayoutId id="2147488656" r:id="rId6"/>
    <p:sldLayoutId id="2147488657" r:id="rId7"/>
    <p:sldLayoutId id="2147488658" r:id="rId8"/>
    <p:sldLayoutId id="2147488659" r:id="rId9"/>
    <p:sldLayoutId id="2147488660" r:id="rId10"/>
    <p:sldLayoutId id="214748866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6" r:id="rId1"/>
    <p:sldLayoutId id="2147488387" r:id="rId2"/>
    <p:sldLayoutId id="2147488388" r:id="rId3"/>
    <p:sldLayoutId id="2147488389" r:id="rId4"/>
    <p:sldLayoutId id="2147488390" r:id="rId5"/>
    <p:sldLayoutId id="2147488391" r:id="rId6"/>
    <p:sldLayoutId id="2147488392" r:id="rId7"/>
    <p:sldLayoutId id="2147488393" r:id="rId8"/>
    <p:sldLayoutId id="2147488394" r:id="rId9"/>
    <p:sldLayoutId id="2147488395" r:id="rId10"/>
    <p:sldLayoutId id="214748839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64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62" r:id="rId1"/>
    <p:sldLayoutId id="2147488663" r:id="rId2"/>
    <p:sldLayoutId id="2147488664" r:id="rId3"/>
    <p:sldLayoutId id="2147488665" r:id="rId4"/>
    <p:sldLayoutId id="2147488666" r:id="rId5"/>
    <p:sldLayoutId id="2147488667" r:id="rId6"/>
    <p:sldLayoutId id="2147488668" r:id="rId7"/>
    <p:sldLayoutId id="2147488669" r:id="rId8"/>
    <p:sldLayoutId id="2147488670" r:id="rId9"/>
    <p:sldLayoutId id="2147488671" r:id="rId10"/>
    <p:sldLayoutId id="21474886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1987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8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73" r:id="rId1"/>
    <p:sldLayoutId id="2147488674" r:id="rId2"/>
    <p:sldLayoutId id="2147488675" r:id="rId3"/>
    <p:sldLayoutId id="2147488676" r:id="rId4"/>
    <p:sldLayoutId id="2147488677" r:id="rId5"/>
    <p:sldLayoutId id="2147488678" r:id="rId6"/>
    <p:sldLayoutId id="2147488679" r:id="rId7"/>
    <p:sldLayoutId id="2147488680" r:id="rId8"/>
    <p:sldLayoutId id="2147488681" r:id="rId9"/>
    <p:sldLayoutId id="2147488682" r:id="rId10"/>
    <p:sldLayoutId id="2147488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8684" r:id="rId1"/>
    <p:sldLayoutId id="2147488685" r:id="rId2"/>
    <p:sldLayoutId id="2147488686" r:id="rId3"/>
    <p:sldLayoutId id="2147488687" r:id="rId4"/>
    <p:sldLayoutId id="2147488688" r:id="rId5"/>
    <p:sldLayoutId id="2147488689" r:id="rId6"/>
    <p:sldLayoutId id="2147488690" r:id="rId7"/>
    <p:sldLayoutId id="2147488691" r:id="rId8"/>
    <p:sldLayoutId id="2147488692" r:id="rId9"/>
    <p:sldLayoutId id="2147488693" r:id="rId10"/>
    <p:sldLayoutId id="214748869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2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512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97" r:id="rId1"/>
    <p:sldLayoutId id="2147488398" r:id="rId2"/>
    <p:sldLayoutId id="2147488399" r:id="rId3"/>
    <p:sldLayoutId id="2147488400" r:id="rId4"/>
    <p:sldLayoutId id="2147488401" r:id="rId5"/>
    <p:sldLayoutId id="2147488402" r:id="rId6"/>
    <p:sldLayoutId id="2147488403" r:id="rId7"/>
    <p:sldLayoutId id="2147488404" r:id="rId8"/>
    <p:sldLayoutId id="2147488405" r:id="rId9"/>
    <p:sldLayoutId id="2147488406" r:id="rId10"/>
    <p:sldLayoutId id="214748840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614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  <p:sldLayoutId id="2147488413" r:id="rId6"/>
    <p:sldLayoutId id="2147488414" r:id="rId7"/>
    <p:sldLayoutId id="2147488415" r:id="rId8"/>
    <p:sldLayoutId id="2147488416" r:id="rId9"/>
    <p:sldLayoutId id="2147488417" r:id="rId10"/>
    <p:sldLayoutId id="21474884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717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19" r:id="rId1"/>
    <p:sldLayoutId id="2147488420" r:id="rId2"/>
    <p:sldLayoutId id="2147488421" r:id="rId3"/>
    <p:sldLayoutId id="2147488422" r:id="rId4"/>
    <p:sldLayoutId id="2147488423" r:id="rId5"/>
    <p:sldLayoutId id="2147488424" r:id="rId6"/>
    <p:sldLayoutId id="2147488425" r:id="rId7"/>
    <p:sldLayoutId id="2147488426" r:id="rId8"/>
    <p:sldLayoutId id="2147488427" r:id="rId9"/>
    <p:sldLayoutId id="2147488428" r:id="rId10"/>
    <p:sldLayoutId id="214748842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8195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30" r:id="rId1"/>
    <p:sldLayoutId id="2147488431" r:id="rId2"/>
    <p:sldLayoutId id="2147488432" r:id="rId3"/>
    <p:sldLayoutId id="2147488433" r:id="rId4"/>
    <p:sldLayoutId id="2147488434" r:id="rId5"/>
    <p:sldLayoutId id="2147488435" r:id="rId6"/>
    <p:sldLayoutId id="2147488436" r:id="rId7"/>
    <p:sldLayoutId id="2147488437" r:id="rId8"/>
    <p:sldLayoutId id="2147488438" r:id="rId9"/>
    <p:sldLayoutId id="2147488439" r:id="rId10"/>
    <p:sldLayoutId id="214748844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921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41" r:id="rId1"/>
    <p:sldLayoutId id="2147488442" r:id="rId2"/>
    <p:sldLayoutId id="2147488443" r:id="rId3"/>
    <p:sldLayoutId id="2147488444" r:id="rId4"/>
    <p:sldLayoutId id="2147488445" r:id="rId5"/>
    <p:sldLayoutId id="2147488446" r:id="rId6"/>
    <p:sldLayoutId id="2147488447" r:id="rId7"/>
    <p:sldLayoutId id="2147488448" r:id="rId8"/>
    <p:sldLayoutId id="2147488449" r:id="rId9"/>
    <p:sldLayoutId id="2147488450" r:id="rId10"/>
    <p:sldLayoutId id="214748845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0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1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2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3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4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4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5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6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7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8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chemeClr val="bg1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Kamień milowy 2018</a:t>
            </a:r>
          </a:p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Podsumowanie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r>
              <a:rPr lang="pl-PL" dirty="0" smtClean="0">
                <a:solidFill>
                  <a:schemeClr val="bg1"/>
                </a:solidFill>
              </a:rPr>
              <a:t>Uniejów, 28-29 marca 2019 roku</a:t>
            </a:r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1371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UMOWA RAMOWA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 algn="just"/>
            <a:r>
              <a:rPr lang="pl-PL" dirty="0"/>
              <a:t>Jeżeli do 31 grudnia 2018 roku LGD:</a:t>
            </a:r>
            <a:endParaRPr lang="pl-PL" sz="2000" dirty="0"/>
          </a:p>
          <a:p>
            <a:pPr marL="285750" lvl="3" indent="-285750" algn="just">
              <a:buFont typeface="Arial" pitchFamily="34" charset="0"/>
              <a:buChar char="•"/>
            </a:pPr>
            <a:r>
              <a:rPr lang="pl-PL" dirty="0"/>
              <a:t>osiągnie poziom co najmniej 50% każdego ze wskaźników produktu, który został przewidziany do realizacji w latach 2016 – </a:t>
            </a:r>
            <a:r>
              <a:rPr lang="pl-PL" dirty="0" smtClean="0"/>
              <a:t>2018;</a:t>
            </a:r>
            <a:endParaRPr lang="pl-PL" dirty="0"/>
          </a:p>
          <a:p>
            <a:pPr marL="285750" lvl="3" indent="-285750" algn="just">
              <a:buFont typeface="Arial" pitchFamily="34" charset="0"/>
              <a:buChar char="•"/>
            </a:pPr>
            <a:r>
              <a:rPr lang="pl-PL" dirty="0"/>
              <a:t>wykorzysta co najmniej 40% środków finansowych na realizację LSR, a w przypadku gdy LSR przewiduje finansowanie w ramach PROW dodatkowo wykorzysta: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dirty="0"/>
              <a:t>20% środków finansowych na realizację LSR na operacje dedykowane w LSR grupom </a:t>
            </a:r>
            <a:r>
              <a:rPr lang="pl-PL" dirty="0" err="1"/>
              <a:t>defaworyzowanym</a:t>
            </a:r>
            <a:r>
              <a:rPr lang="pl-PL" dirty="0"/>
              <a:t> i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dirty="0"/>
              <a:t>40% środków finansowych na realizację LSR na utworzenie miejsc </a:t>
            </a:r>
            <a:r>
              <a:rPr lang="pl-PL" dirty="0" smtClean="0"/>
              <a:t>pracy</a:t>
            </a:r>
          </a:p>
          <a:p>
            <a:pPr marL="0" lvl="1" algn="just"/>
            <a:r>
              <a:rPr lang="pl-PL" dirty="0" smtClean="0"/>
              <a:t>oraz</a:t>
            </a:r>
            <a:endParaRPr lang="pl-PL" dirty="0"/>
          </a:p>
          <a:p>
            <a:pPr marL="285750" lvl="3" indent="-285750" algn="just">
              <a:buFont typeface="Arial" pitchFamily="34" charset="0"/>
              <a:buChar char="•"/>
            </a:pPr>
            <a:r>
              <a:rPr lang="pl-PL" u="sng" dirty="0"/>
              <a:t>zrealizuje zobowiązania określone w niniejszej umowie</a:t>
            </a:r>
            <a:endParaRPr lang="pl-PL" sz="2000" u="sng" dirty="0"/>
          </a:p>
          <a:p>
            <a:pPr algn="just"/>
            <a:r>
              <a:rPr lang="pl-PL" dirty="0"/>
              <a:t>– kwota określona w § 4 ust. 1 umowy w ramach danego programu może zostać podwyższona maksymalnie o kwotę stanowiącą 20% kwoty środków, o których mowa w § 4 ust. 1 umowy, o ile dostępne są środki finansowe w ramach danego programu – proporcjonalnie do potrzeb zgłoszonych przez LGD.</a:t>
            </a:r>
            <a:endParaRPr lang="pl-PL" sz="2000" dirty="0"/>
          </a:p>
          <a:p>
            <a:pPr marL="0" lvl="2" algn="just"/>
            <a:r>
              <a:rPr lang="pl-PL" dirty="0"/>
              <a:t>Postanowienia </a:t>
            </a:r>
            <a:r>
              <a:rPr lang="pl-PL" dirty="0" smtClean="0"/>
              <a:t>nie </a:t>
            </a:r>
            <a:r>
              <a:rPr lang="pl-PL" dirty="0"/>
              <a:t>mają zastosowania w przypadku gdy LSR przewiduje finansowanie w ramach PO RYBY.</a:t>
            </a:r>
            <a:endParaRPr lang="pl-PL" sz="2000" dirty="0"/>
          </a:p>
        </p:txBody>
      </p:sp>
      <p:sp>
        <p:nvSpPr>
          <p:cNvPr id="4" name="pole tekstowe 3"/>
          <p:cNvSpPr txBox="1"/>
          <p:nvPr/>
        </p:nvSpPr>
        <p:spPr>
          <a:xfrm rot="1994818">
            <a:off x="7483118" y="659011"/>
            <a:ext cx="15233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 smtClean="0"/>
              <a:t>PŁATNOŚCI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98936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PIERWSZY ANEKS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/>
              <a:t>Jeżeli do 31 grudnia 2018 roku LGD:</a:t>
            </a:r>
            <a:endParaRPr lang="pl-PL" sz="2000" b="1" dirty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dirty="0"/>
              <a:t>osiągnie poziom co najmniej 60% każdego ze wskaźników produktu, który został przewidziany do realizacji w latach 2016 – </a:t>
            </a:r>
            <a:r>
              <a:rPr lang="pl-PL" dirty="0" smtClean="0"/>
              <a:t>2018,</a:t>
            </a:r>
            <a:endParaRPr lang="pl-PL" sz="2000" b="1" dirty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dirty="0"/>
              <a:t>wykorzysta co najmniej 80% środków finansowych przeznaczonych na wsparcie realizacji operacji w ramach LSR w latach 2016-2018, a w przypadku, gdy LSR przewiduje finansowanie w ramach PROW, </a:t>
            </a:r>
            <a:r>
              <a:rPr lang="pl-PL" dirty="0" smtClean="0"/>
              <a:t>dodatkowo</a:t>
            </a:r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dirty="0" smtClean="0"/>
              <a:t>wykorzysta </a:t>
            </a:r>
            <a:r>
              <a:rPr lang="pl-PL" dirty="0"/>
              <a:t>40% środków finansowych przeznaczonych na utworzenie/utrzymanie miejsc pracy w ramach LSR,</a:t>
            </a:r>
            <a:endParaRPr lang="pl-PL" sz="2000" b="1" dirty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u="sng" dirty="0"/>
              <a:t>realizuje zobowiązania określone w niniejszej umowie </a:t>
            </a:r>
            <a:endParaRPr lang="pl-PL" sz="2000" b="1" u="sng" dirty="0"/>
          </a:p>
          <a:p>
            <a:pPr marL="285750" indent="-285750" algn="just">
              <a:buFontTx/>
              <a:buChar char="-"/>
            </a:pPr>
            <a:r>
              <a:rPr lang="pl-PL" dirty="0" smtClean="0"/>
              <a:t>kwota </a:t>
            </a:r>
            <a:r>
              <a:rPr lang="pl-PL" dirty="0"/>
              <a:t>określona w § 4 ust. 1 umowy w ramach danego programu może zostać podwyższona maksymalnie o kwotę stanowiącą 20% kwoty środków, o których mowa w § 4 ust. 1 umowy, o ile dostępne są środki finansowe w ramach danego programu – proporcjonalnie do potrzeb zgłoszonych przez LGD</a:t>
            </a:r>
            <a:r>
              <a:rPr lang="pl-PL" dirty="0" smtClean="0"/>
              <a:t>.</a:t>
            </a:r>
          </a:p>
          <a:p>
            <a:pPr marL="0" lvl="2" algn="just"/>
            <a:endParaRPr lang="pl-PL" dirty="0" smtClean="0"/>
          </a:p>
          <a:p>
            <a:pPr marL="0" lvl="2" algn="just"/>
            <a:r>
              <a:rPr lang="pl-PL" dirty="0" smtClean="0"/>
              <a:t>Postanowienia </a:t>
            </a:r>
            <a:r>
              <a:rPr lang="pl-PL" dirty="0"/>
              <a:t>nie mają zastosowania w przypadku gdy LSR przewiduje finansowanie w ramach PO RYBY</a:t>
            </a:r>
            <a:r>
              <a:rPr lang="pl-PL" dirty="0" smtClean="0"/>
              <a:t>.</a:t>
            </a:r>
            <a:endParaRPr lang="pl-PL" sz="2000" dirty="0"/>
          </a:p>
        </p:txBody>
      </p:sp>
      <p:sp>
        <p:nvSpPr>
          <p:cNvPr id="7" name="pole tekstowe 6"/>
          <p:cNvSpPr txBox="1"/>
          <p:nvPr/>
        </p:nvSpPr>
        <p:spPr>
          <a:xfrm rot="1994818">
            <a:off x="7483118" y="659011"/>
            <a:ext cx="15233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 smtClean="0"/>
              <a:t>UMOWY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800363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>
                <a:solidFill>
                  <a:srgbClr val="000000"/>
                </a:solidFill>
              </a:rPr>
              <a:t>DRUGI ANEKS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/>
              <a:t>Jeżeli do 31 grudnia 2018 roku LGD:</a:t>
            </a:r>
            <a:endParaRPr lang="pl-PL" sz="2000" b="1" dirty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dirty="0"/>
              <a:t>osiągnie poziom co najmniej 60% każdego ze wskaźników produktu, który został przewidziany do realizacji w latach 2016 – </a:t>
            </a:r>
            <a:r>
              <a:rPr lang="pl-PL" dirty="0" smtClean="0"/>
              <a:t>2018,</a:t>
            </a:r>
            <a:endParaRPr lang="pl-PL" sz="2000" b="1" dirty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dirty="0"/>
              <a:t>wykorzysta co najmniej 80% środków finansowych przeznaczonych na wsparcie realizacji operacji w ramach LSR w latach 2016-2018, a w przypadku, gdy LSR przewiduje finansowanie w ramach PROW, </a:t>
            </a:r>
            <a:r>
              <a:rPr lang="pl-PL" dirty="0" smtClean="0"/>
              <a:t>dodatkowo</a:t>
            </a:r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dirty="0" smtClean="0"/>
              <a:t>wykorzysta </a:t>
            </a:r>
            <a:r>
              <a:rPr lang="pl-PL" dirty="0"/>
              <a:t>40% środków finansowych przeznaczonych na utworzenie/utrzymanie miejsc pracy w ramach LSR,</a:t>
            </a:r>
            <a:endParaRPr lang="pl-PL" sz="2000" b="1" dirty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u="sng" dirty="0"/>
              <a:t>realizuje zobowiązania określone w niniejszej umowie </a:t>
            </a:r>
            <a:endParaRPr lang="pl-PL" sz="2000" b="1" u="sng" dirty="0"/>
          </a:p>
          <a:p>
            <a:pPr marL="285750" indent="-285750" algn="just">
              <a:buFontTx/>
              <a:buChar char="-"/>
            </a:pPr>
            <a:r>
              <a:rPr lang="pl-PL" dirty="0" smtClean="0"/>
              <a:t>kwota </a:t>
            </a:r>
            <a:r>
              <a:rPr lang="pl-PL" dirty="0"/>
              <a:t>określona w § 4 ust. 1 umowy w ramach danego </a:t>
            </a:r>
            <a:r>
              <a:rPr lang="pl-PL" dirty="0" smtClean="0"/>
              <a:t>funduszu może </a:t>
            </a:r>
            <a:r>
              <a:rPr lang="pl-PL" dirty="0"/>
              <a:t>zostać podwyższona maksymalnie o kwotę stanowiącą </a:t>
            </a:r>
            <a:r>
              <a:rPr lang="pl-PL" dirty="0" smtClean="0"/>
              <a:t>60</a:t>
            </a:r>
            <a:r>
              <a:rPr lang="pl-PL" dirty="0"/>
              <a:t>% kwoty środków, o których mowa w § 4 ust. 1 umowy, o ile dostępne są środki finansowe w ramach danego programu – proporcjonalnie do potrzeb zgłoszonych przez LGD</a:t>
            </a:r>
            <a:r>
              <a:rPr lang="pl-PL" dirty="0" smtClean="0"/>
              <a:t>.</a:t>
            </a:r>
          </a:p>
          <a:p>
            <a:pPr marL="0" lvl="2" algn="just"/>
            <a:endParaRPr lang="pl-PL" dirty="0" smtClean="0"/>
          </a:p>
          <a:p>
            <a:pPr marL="0" lvl="2" algn="just"/>
            <a:r>
              <a:rPr lang="pl-PL" dirty="0"/>
              <a:t>Metodologia podwyższenia kwoty środków w ramach danego funduszu zostanie ustalona przez Instytucję Zarządzającą</a:t>
            </a:r>
            <a:endParaRPr lang="pl-PL" sz="2000" dirty="0"/>
          </a:p>
        </p:txBody>
      </p:sp>
      <p:sp>
        <p:nvSpPr>
          <p:cNvPr id="7" name="pole tekstowe 6"/>
          <p:cNvSpPr txBox="1"/>
          <p:nvPr/>
        </p:nvSpPr>
        <p:spPr>
          <a:xfrm rot="1994818">
            <a:off x="7483118" y="659011"/>
            <a:ext cx="15233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 smtClean="0"/>
              <a:t>UMOWY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126800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raz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OSIĄGNIĘCIE KAMIENIA MILOWEGO</a:t>
            </a:r>
          </a:p>
        </p:txBody>
      </p:sp>
      <p:sp>
        <p:nvSpPr>
          <p:cNvPr id="12" name="Prostokąt 11"/>
          <p:cNvSpPr/>
          <p:nvPr/>
        </p:nvSpPr>
        <p:spPr>
          <a:xfrm>
            <a:off x="2843804" y="862147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3" name="Prostokąt 12"/>
          <p:cNvSpPr/>
          <p:nvPr/>
        </p:nvSpPr>
        <p:spPr>
          <a:xfrm>
            <a:off x="6294751" y="862147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0" name="Prostokąt 19"/>
          <p:cNvSpPr/>
          <p:nvPr/>
        </p:nvSpPr>
        <p:spPr>
          <a:xfrm>
            <a:off x="2843804" y="2727207"/>
            <a:ext cx="4608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1" name="Prostokąt 20"/>
          <p:cNvSpPr/>
          <p:nvPr/>
        </p:nvSpPr>
        <p:spPr>
          <a:xfrm>
            <a:off x="7451804" y="2727207"/>
            <a:ext cx="1152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Prostokąt 21"/>
          <p:cNvSpPr/>
          <p:nvPr/>
        </p:nvSpPr>
        <p:spPr>
          <a:xfrm>
            <a:off x="2843804" y="3933056"/>
            <a:ext cx="2304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3" name="Prostokąt 22"/>
          <p:cNvSpPr/>
          <p:nvPr/>
        </p:nvSpPr>
        <p:spPr>
          <a:xfrm>
            <a:off x="5142751" y="3933056"/>
            <a:ext cx="3456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Prostokąt 24"/>
          <p:cNvSpPr/>
          <p:nvPr/>
        </p:nvSpPr>
        <p:spPr>
          <a:xfrm>
            <a:off x="2838751" y="1186183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6" name="Prostokąt 25"/>
          <p:cNvSpPr/>
          <p:nvPr/>
        </p:nvSpPr>
        <p:spPr>
          <a:xfrm>
            <a:off x="6294751" y="1188388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7" name="Prostokąt 26"/>
          <p:cNvSpPr/>
          <p:nvPr/>
        </p:nvSpPr>
        <p:spPr>
          <a:xfrm>
            <a:off x="2838751" y="1510219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8" name="Prostokąt 27"/>
          <p:cNvSpPr/>
          <p:nvPr/>
        </p:nvSpPr>
        <p:spPr>
          <a:xfrm>
            <a:off x="6299804" y="1510219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pole tekstowe 1"/>
          <p:cNvSpPr txBox="1"/>
          <p:nvPr/>
        </p:nvSpPr>
        <p:spPr>
          <a:xfrm>
            <a:off x="303200" y="843677"/>
            <a:ext cx="8567576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 smtClean="0"/>
              <a:t>Wskaźnik 1:                                                                  60%</a:t>
            </a:r>
          </a:p>
          <a:p>
            <a:pPr algn="just"/>
            <a:r>
              <a:rPr lang="pl-PL" sz="2000" dirty="0" smtClean="0"/>
              <a:t>Wskaźnik 2:                                                                  60%</a:t>
            </a:r>
          </a:p>
          <a:p>
            <a:pPr algn="just"/>
            <a:r>
              <a:rPr lang="pl-PL" sz="2000" dirty="0" smtClean="0"/>
              <a:t>Wskaźnik n:                                                                  60%</a:t>
            </a:r>
          </a:p>
          <a:p>
            <a:pPr algn="just"/>
            <a:endParaRPr lang="pl-PL" sz="2000" dirty="0" smtClean="0"/>
          </a:p>
          <a:p>
            <a:pPr algn="just"/>
            <a:endParaRPr lang="pl-PL" sz="2000" dirty="0" smtClean="0"/>
          </a:p>
          <a:p>
            <a:pPr algn="just"/>
            <a:endParaRPr lang="pl-PL" sz="2000" dirty="0"/>
          </a:p>
          <a:p>
            <a:pPr algn="just"/>
            <a:r>
              <a:rPr lang="pl-PL" sz="2000" dirty="0" smtClean="0"/>
              <a:t>Budżet 2018:                                                                                 80%</a:t>
            </a:r>
          </a:p>
          <a:p>
            <a:pPr algn="just"/>
            <a:endParaRPr lang="pl-PL" sz="2000" dirty="0" smtClean="0"/>
          </a:p>
          <a:p>
            <a:pPr algn="just"/>
            <a:endParaRPr lang="pl-PL" sz="2000" dirty="0" smtClean="0"/>
          </a:p>
          <a:p>
            <a:pPr algn="just"/>
            <a:endParaRPr lang="pl-PL" sz="2000" dirty="0"/>
          </a:p>
          <a:p>
            <a:pPr algn="just"/>
            <a:r>
              <a:rPr lang="pl-PL" sz="2000" dirty="0" smtClean="0"/>
              <a:t>Miejsca pracy </a:t>
            </a:r>
            <a:r>
              <a:rPr lang="pl-PL" sz="2000" b="1" u="sng" dirty="0" smtClean="0"/>
              <a:t>ALL</a:t>
            </a:r>
            <a:r>
              <a:rPr lang="pl-PL" sz="2000" dirty="0" smtClean="0"/>
              <a:t>:                                      40%</a:t>
            </a:r>
          </a:p>
          <a:p>
            <a:pPr algn="just"/>
            <a:endParaRPr lang="pl-PL" sz="2000" dirty="0"/>
          </a:p>
          <a:p>
            <a:pPr algn="just"/>
            <a:endParaRPr lang="pl-PL" sz="2000" dirty="0" smtClean="0"/>
          </a:p>
          <a:p>
            <a:pPr algn="just"/>
            <a:r>
              <a:rPr lang="pl-PL" sz="2000" dirty="0" smtClean="0"/>
              <a:t>Zobowiązania określone w umowie ramowej!</a:t>
            </a:r>
          </a:p>
          <a:p>
            <a:pPr algn="just"/>
            <a:endParaRPr lang="pl-PL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24131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az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sp>
        <p:nvSpPr>
          <p:cNvPr id="5" name="pole tekstowe 4"/>
          <p:cNvSpPr txBox="1"/>
          <p:nvPr/>
        </p:nvSpPr>
        <p:spPr>
          <a:xfrm>
            <a:off x="395536" y="894972"/>
            <a:ext cx="4464496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ctr">
              <a:spcBef>
                <a:spcPts val="1800"/>
              </a:spcBef>
              <a:buNone/>
            </a:pPr>
            <a:r>
              <a:rPr lang="pl-PL" dirty="0"/>
              <a:t>Kwota przeznaczona w LEADER w ramach bonusów</a:t>
            </a:r>
            <a:r>
              <a:rPr lang="pl-PL" dirty="0" smtClean="0"/>
              <a:t>:</a:t>
            </a:r>
          </a:p>
          <a:p>
            <a:pPr marL="0" lvl="0" indent="0" algn="ctr">
              <a:spcBef>
                <a:spcPts val="1800"/>
              </a:spcBef>
              <a:buNone/>
            </a:pPr>
            <a:endParaRPr lang="pl-PL" dirty="0"/>
          </a:p>
          <a:p>
            <a:pPr marL="0" lvl="0" indent="0" algn="ctr">
              <a:buNone/>
            </a:pPr>
            <a:r>
              <a:rPr lang="pl-PL" b="1" dirty="0"/>
              <a:t>~102 mln zł (ogółem</a:t>
            </a:r>
            <a:r>
              <a:rPr lang="pl-PL" b="1" dirty="0" smtClean="0"/>
              <a:t>)</a:t>
            </a:r>
          </a:p>
          <a:p>
            <a:pPr marL="0" lvl="0" indent="0" algn="ctr">
              <a:buNone/>
            </a:pPr>
            <a:endParaRPr lang="pl-PL" b="1" dirty="0"/>
          </a:p>
          <a:p>
            <a:pPr marL="0" lvl="0" indent="0" algn="ctr">
              <a:buNone/>
            </a:pPr>
            <a:r>
              <a:rPr lang="pl-PL" dirty="0" smtClean="0"/>
              <a:t>~</a:t>
            </a:r>
            <a:r>
              <a:rPr lang="pl-PL" dirty="0"/>
              <a:t>14 mln zł obniżki kamienie </a:t>
            </a:r>
            <a:r>
              <a:rPr lang="pl-PL" dirty="0" smtClean="0"/>
              <a:t>milowe</a:t>
            </a:r>
            <a:br>
              <a:rPr lang="pl-PL" dirty="0" smtClean="0"/>
            </a:br>
            <a:r>
              <a:rPr lang="pl-PL" dirty="0" smtClean="0"/>
              <a:t>oraz</a:t>
            </a:r>
            <a:br>
              <a:rPr lang="pl-PL" dirty="0" smtClean="0"/>
            </a:br>
            <a:r>
              <a:rPr lang="pl-PL" dirty="0" smtClean="0"/>
              <a:t>~22 </a:t>
            </a:r>
            <a:r>
              <a:rPr lang="pl-PL" dirty="0"/>
              <a:t>mln euro </a:t>
            </a:r>
            <a:r>
              <a:rPr lang="pl-PL" dirty="0" smtClean="0"/>
              <a:t>(</a:t>
            </a:r>
            <a:r>
              <a:rPr lang="pl-PL" dirty="0"/>
              <a:t>~ </a:t>
            </a:r>
            <a:r>
              <a:rPr lang="pl-PL" dirty="0" smtClean="0"/>
              <a:t>88 mln zł) zmiana PROW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pPr algn="ctr"/>
            <a:r>
              <a:rPr lang="pl-PL" dirty="0" smtClean="0"/>
              <a:t>Liczba LGD mogących starać się o bonus:</a:t>
            </a:r>
          </a:p>
          <a:p>
            <a:pPr algn="ctr"/>
            <a:r>
              <a:rPr lang="pl-PL" b="1" dirty="0" smtClean="0"/>
              <a:t>129 LGD</a:t>
            </a:r>
            <a:endParaRPr lang="pl-PL" b="1" dirty="0"/>
          </a:p>
        </p:txBody>
      </p:sp>
      <p:sp>
        <p:nvSpPr>
          <p:cNvPr id="14" name="Symbol zastępczy zawartości 2"/>
          <p:cNvSpPr txBox="1">
            <a:spLocks noGrp="1"/>
          </p:cNvSpPr>
          <p:nvPr>
            <p:ph idx="1"/>
          </p:nvPr>
        </p:nvSpPr>
        <p:spPr>
          <a:xfrm>
            <a:off x="4398664" y="894973"/>
            <a:ext cx="4392484" cy="4695947"/>
          </a:xfrm>
          <a:noFill/>
        </p:spPr>
        <p:txBody>
          <a:bodyPr/>
          <a:lstStyle/>
          <a:p>
            <a:pPr lvl="1"/>
            <a:r>
              <a:rPr lang="pl-PL" sz="1600" dirty="0"/>
              <a:t>Dolnośląskie – 8 grup</a:t>
            </a:r>
          </a:p>
          <a:p>
            <a:pPr lvl="1"/>
            <a:r>
              <a:rPr lang="pl-PL" sz="1600" dirty="0"/>
              <a:t>Kujawsko-pomorskie – 9 grup</a:t>
            </a:r>
          </a:p>
          <a:p>
            <a:pPr lvl="1"/>
            <a:r>
              <a:rPr lang="pl-PL" sz="1600" dirty="0"/>
              <a:t>Lubelskie – 13 grup</a:t>
            </a:r>
          </a:p>
          <a:p>
            <a:pPr lvl="1"/>
            <a:r>
              <a:rPr lang="pl-PL" sz="1600" dirty="0"/>
              <a:t>Lubuskie – 3 grupy</a:t>
            </a:r>
          </a:p>
          <a:p>
            <a:pPr lvl="1"/>
            <a:r>
              <a:rPr lang="pl-PL" sz="1600" dirty="0"/>
              <a:t>Łódzkie – 4 grup </a:t>
            </a:r>
          </a:p>
          <a:p>
            <a:pPr lvl="1"/>
            <a:r>
              <a:rPr lang="pl-PL" sz="1600" dirty="0"/>
              <a:t>Małopolskie – 13 grup </a:t>
            </a:r>
          </a:p>
          <a:p>
            <a:pPr lvl="1"/>
            <a:r>
              <a:rPr lang="pl-PL" sz="1600" dirty="0"/>
              <a:t>Mazowieckie – 10 grupy</a:t>
            </a:r>
          </a:p>
          <a:p>
            <a:pPr lvl="1"/>
            <a:r>
              <a:rPr lang="pl-PL" sz="1600" dirty="0"/>
              <a:t>Opolskie – 2 grupy</a:t>
            </a:r>
          </a:p>
          <a:p>
            <a:pPr lvl="1"/>
            <a:r>
              <a:rPr lang="pl-PL" sz="1600" dirty="0"/>
              <a:t>Podkarpackie – 6 grup</a:t>
            </a:r>
          </a:p>
          <a:p>
            <a:pPr lvl="1"/>
            <a:r>
              <a:rPr lang="pl-PL" sz="1600" dirty="0"/>
              <a:t>Podlaskie – 6 grup</a:t>
            </a:r>
          </a:p>
          <a:p>
            <a:pPr lvl="1"/>
            <a:r>
              <a:rPr lang="pl-PL" sz="1600" dirty="0"/>
              <a:t>Pomorskie – 13 grup</a:t>
            </a:r>
          </a:p>
          <a:p>
            <a:pPr lvl="1"/>
            <a:r>
              <a:rPr lang="pl-PL" sz="1600" dirty="0"/>
              <a:t>Śląskie – 6 grup </a:t>
            </a:r>
          </a:p>
          <a:p>
            <a:pPr lvl="1"/>
            <a:r>
              <a:rPr lang="pl-PL" sz="1600" dirty="0"/>
              <a:t>Świętokrzyskie – 14 grup</a:t>
            </a:r>
          </a:p>
          <a:p>
            <a:pPr lvl="1"/>
            <a:r>
              <a:rPr lang="pl-PL" sz="1600" dirty="0"/>
              <a:t>Warmińsko-mazurskie – 2 grupy</a:t>
            </a:r>
          </a:p>
          <a:p>
            <a:pPr lvl="1"/>
            <a:r>
              <a:rPr lang="pl-PL" sz="1600" dirty="0"/>
              <a:t>Wielkopolskie –  12 grup</a:t>
            </a:r>
          </a:p>
          <a:p>
            <a:pPr lvl="1"/>
            <a:r>
              <a:rPr lang="pl-PL" sz="1600" dirty="0" smtClean="0"/>
              <a:t>Zachodniopomorskie </a:t>
            </a:r>
            <a:r>
              <a:rPr lang="pl-PL" sz="1600" dirty="0"/>
              <a:t>– 8 grup</a:t>
            </a:r>
          </a:p>
        </p:txBody>
      </p:sp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BONUSY W POLS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111363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rgbClr val="FFFFFF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rgbClr val="FFFFFF"/>
                </a:solidFill>
              </a:rPr>
              <a:t>Dziękuję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92770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chemeClr val="bg1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Kamień milowy 2018</a:t>
            </a:r>
          </a:p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Obniżki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44992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UMOWA RAMOWA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 algn="just"/>
            <a:r>
              <a:rPr lang="pl-PL" dirty="0" smtClean="0"/>
              <a:t>Jeżeli </a:t>
            </a:r>
            <a:r>
              <a:rPr lang="pl-PL" dirty="0"/>
              <a:t>do 31 grudnia 2018 roku LGD:</a:t>
            </a:r>
          </a:p>
          <a:p>
            <a:pPr marL="285750" lvl="3" indent="-285750" algn="just">
              <a:buFont typeface="Arial" pitchFamily="34" charset="0"/>
              <a:buChar char="•"/>
            </a:pPr>
            <a:r>
              <a:rPr lang="pl-PL" dirty="0"/>
              <a:t>nie osiągnie co najmniej </a:t>
            </a:r>
            <a:r>
              <a:rPr lang="pl-PL" b="1" dirty="0"/>
              <a:t>20%</a:t>
            </a:r>
            <a:r>
              <a:rPr lang="pl-PL" dirty="0"/>
              <a:t> poziomu każdego ze wskaźników produktu, który został przewidziany do realizacji w latach 2016 – 2018, </a:t>
            </a:r>
            <a:r>
              <a:rPr lang="pl-PL" dirty="0" smtClean="0"/>
              <a:t>lub</a:t>
            </a:r>
            <a:endParaRPr lang="pl-PL" dirty="0"/>
          </a:p>
          <a:p>
            <a:pPr marL="285750" lvl="3" indent="-285750" algn="just">
              <a:buFont typeface="Arial" pitchFamily="34" charset="0"/>
              <a:buChar char="•"/>
            </a:pPr>
            <a:r>
              <a:rPr lang="pl-PL" dirty="0"/>
              <a:t>nie wykorzysta co najmniej </a:t>
            </a:r>
            <a:r>
              <a:rPr lang="pl-PL" b="1" dirty="0"/>
              <a:t>20%</a:t>
            </a:r>
            <a:r>
              <a:rPr lang="pl-PL" dirty="0"/>
              <a:t> środków finansowych przeznaczonych na wsparcie realizacji operacji w ramach LSR, a w przypadku gdy LSR przewiduje finansowanie </a:t>
            </a:r>
            <a:r>
              <a:rPr lang="pl-PL" dirty="0" smtClean="0"/>
              <a:t> w</a:t>
            </a:r>
            <a:r>
              <a:rPr lang="pl-PL" dirty="0"/>
              <a:t> ramach PROW dodatkowo nie wykorzysta co najmniej: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b="1" dirty="0" smtClean="0"/>
              <a:t>10</a:t>
            </a:r>
            <a:r>
              <a:rPr lang="pl-PL" b="1" dirty="0"/>
              <a:t>%</a:t>
            </a:r>
            <a:r>
              <a:rPr lang="pl-PL" dirty="0"/>
              <a:t> środków finansowych na realizację LSR na operacje dedykowane w LSR grupom </a:t>
            </a:r>
            <a:r>
              <a:rPr lang="pl-PL" dirty="0" err="1"/>
              <a:t>defaworyzowanym</a:t>
            </a:r>
            <a:r>
              <a:rPr lang="pl-PL" dirty="0"/>
              <a:t>,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b="1" dirty="0" smtClean="0"/>
              <a:t>20</a:t>
            </a:r>
            <a:r>
              <a:rPr lang="pl-PL" b="1" dirty="0"/>
              <a:t>%</a:t>
            </a:r>
            <a:r>
              <a:rPr lang="pl-PL" dirty="0"/>
              <a:t> środków finansowych na realizację LSR na utworzenie miejsc </a:t>
            </a:r>
            <a:r>
              <a:rPr lang="pl-PL" dirty="0" smtClean="0"/>
              <a:t>pracy,</a:t>
            </a:r>
            <a:endParaRPr lang="pl-PL" dirty="0"/>
          </a:p>
          <a:p>
            <a:pPr algn="just"/>
            <a:r>
              <a:rPr lang="pl-PL" dirty="0" smtClean="0"/>
              <a:t>kwota </a:t>
            </a:r>
            <a:r>
              <a:rPr lang="pl-PL" dirty="0"/>
              <a:t>określona w § 4 ust. 1 umowy w ramach danego programu ulega obniżeniu o </a:t>
            </a:r>
            <a:r>
              <a:rPr lang="pl-PL" b="1" dirty="0"/>
              <a:t>10 %</a:t>
            </a:r>
            <a:r>
              <a:rPr lang="pl-PL" dirty="0"/>
              <a:t> oraz o </a:t>
            </a:r>
            <a:r>
              <a:rPr lang="pl-PL" b="1" dirty="0"/>
              <a:t>różnicę</a:t>
            </a:r>
            <a:r>
              <a:rPr lang="pl-PL" dirty="0"/>
              <a:t> pomiędzy poziomem wykorzystania środków finansowych przeznaczonych na wsparcie realizacji operacji w ramach LSR w ramach danego programu, określonym w pkt. 2, a faktycznym poziomem wykorzystania środków finansowych przeznaczonych na wsparcie realizacji operacji w ramach LSR w ramach danego programu</a:t>
            </a:r>
            <a:r>
              <a:rPr lang="pl-PL" dirty="0" smtClean="0"/>
              <a:t>.</a:t>
            </a:r>
          </a:p>
          <a:p>
            <a:pPr marL="0" lvl="2" algn="just"/>
            <a:r>
              <a:rPr lang="pl-PL" b="1" dirty="0"/>
              <a:t>Przy ustalaniu poziomu </a:t>
            </a:r>
            <a:r>
              <a:rPr lang="pl-PL" b="1" dirty="0" smtClean="0"/>
              <a:t>wskaźników, pod </a:t>
            </a:r>
            <a:r>
              <a:rPr lang="pl-PL" b="1" dirty="0"/>
              <a:t>uwagę brane będą operacje, dla których płatność została wypłacona beneficjentowi </a:t>
            </a:r>
            <a:r>
              <a:rPr lang="pl-PL" b="1" dirty="0" smtClean="0"/>
              <a:t>do </a:t>
            </a:r>
            <a:r>
              <a:rPr lang="pl-PL" b="1" dirty="0"/>
              <a:t>31 grudnia 2018 </a:t>
            </a:r>
            <a:r>
              <a:rPr lang="pl-PL" b="1" dirty="0" smtClean="0"/>
              <a:t>roku.</a:t>
            </a:r>
            <a:endParaRPr lang="pl-PL" sz="2000" b="1" dirty="0"/>
          </a:p>
          <a:p>
            <a:pPr algn="just"/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374749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PIERWSZY ANEKS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1600" dirty="0"/>
              <a:t>Jeżeli do 31 grudnia 2018 roku LGD:</a:t>
            </a:r>
            <a:endParaRPr lang="pl-PL" sz="1600" b="1" dirty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sz="1600" dirty="0"/>
              <a:t>nie osiągnie co najmniej </a:t>
            </a:r>
            <a:r>
              <a:rPr lang="pl-PL" sz="1600" b="1" dirty="0"/>
              <a:t>40% </a:t>
            </a:r>
            <a:r>
              <a:rPr lang="pl-PL" sz="1600" dirty="0"/>
              <a:t>poziomu każdego ze wskaźników produktu, który został przewidziany do realizacji w LSR w latach 2016 – </a:t>
            </a:r>
            <a:r>
              <a:rPr lang="pl-PL" sz="1600" dirty="0" smtClean="0"/>
              <a:t>2018, </a:t>
            </a:r>
            <a:r>
              <a:rPr lang="pl-PL" sz="1600" dirty="0"/>
              <a:t>lub</a:t>
            </a:r>
            <a:endParaRPr lang="pl-PL" sz="1600" b="1" dirty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sz="1600" dirty="0"/>
              <a:t>nie wykorzysta co najmniej </a:t>
            </a:r>
            <a:r>
              <a:rPr lang="pl-PL" sz="1600" b="1" dirty="0"/>
              <a:t>60%</a:t>
            </a:r>
            <a:r>
              <a:rPr lang="pl-PL" sz="1600" dirty="0"/>
              <a:t> środków finansowych przeznaczonych na wsparcie realizacji operacji w ramach LSR w latach 2016-2018, a w przypadku, gdy LSR przewiduje finansowanie w </a:t>
            </a:r>
            <a:r>
              <a:rPr lang="pl-PL" sz="1600" dirty="0" smtClean="0"/>
              <a:t>ramach PROW</a:t>
            </a:r>
            <a:r>
              <a:rPr lang="pl-PL" sz="1600" dirty="0"/>
              <a:t>, </a:t>
            </a:r>
            <a:r>
              <a:rPr lang="pl-PL" sz="1600" dirty="0" smtClean="0"/>
              <a:t>dodatkowo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sz="1600" dirty="0" smtClean="0"/>
              <a:t>nie </a:t>
            </a:r>
            <a:r>
              <a:rPr lang="pl-PL" sz="1600" dirty="0"/>
              <a:t>wykorzysta co najmniej </a:t>
            </a:r>
            <a:r>
              <a:rPr lang="pl-PL" sz="1600" b="1" dirty="0"/>
              <a:t>20%</a:t>
            </a:r>
            <a:r>
              <a:rPr lang="pl-PL" sz="1600" dirty="0"/>
              <a:t> środków finansowych przeznaczonych na utworzenie/utrzymanie miejsc pracy w ramach </a:t>
            </a:r>
            <a:r>
              <a:rPr lang="pl-PL" sz="1600" dirty="0" smtClean="0"/>
              <a:t>LSR,</a:t>
            </a:r>
            <a:endParaRPr lang="pl-PL" sz="1600" b="1" dirty="0"/>
          </a:p>
          <a:p>
            <a:pPr algn="just"/>
            <a:r>
              <a:rPr lang="pl-PL" sz="1600" dirty="0" smtClean="0"/>
              <a:t>kwota </a:t>
            </a:r>
            <a:r>
              <a:rPr lang="pl-PL" sz="1600" dirty="0"/>
              <a:t>określona w § 4 ust. 1 umowy w ramach danego programu ulega obniżeniu o </a:t>
            </a:r>
            <a:r>
              <a:rPr lang="pl-PL" sz="1600" b="1" dirty="0"/>
              <a:t>10 %</a:t>
            </a:r>
            <a:r>
              <a:rPr lang="pl-PL" sz="1600" dirty="0"/>
              <a:t> oraz o </a:t>
            </a:r>
            <a:r>
              <a:rPr lang="pl-PL" sz="1600" b="1" dirty="0"/>
              <a:t>różnicę</a:t>
            </a:r>
            <a:r>
              <a:rPr lang="pl-PL" sz="1600" dirty="0"/>
              <a:t> pomiędzy zaplanowanym poziomem wykorzystania środków finansowych przeznaczonych na wsparcie realizacji operacji w ramach LSR w ramach danego programu w danym okresie, określonym w pkt 2, a faktycznym poziomem wykorzystania środków finansowych przeznaczonych na wsparcie realizacji operacji w ramach LSR w ramach danego programu, z zastrzeżeniem, że kwota określona w § 4 ust. 1 umowy w ramach danego programu nie może ulec obniżeniu o więcej niż 20</a:t>
            </a:r>
            <a:r>
              <a:rPr lang="pl-PL" sz="1600" dirty="0" smtClean="0"/>
              <a:t>%.</a:t>
            </a:r>
          </a:p>
          <a:p>
            <a:pPr algn="just"/>
            <a:endParaRPr lang="pl-PL" sz="1600" dirty="0" smtClean="0"/>
          </a:p>
          <a:p>
            <a:pPr algn="just"/>
            <a:r>
              <a:rPr lang="pl-PL" sz="1600" dirty="0" smtClean="0"/>
              <a:t>Przy </a:t>
            </a:r>
            <a:r>
              <a:rPr lang="pl-PL" sz="1600" dirty="0"/>
              <a:t>ustalaniu poziomu wskaźników i poziomu wykorzystania środków </a:t>
            </a:r>
            <a:r>
              <a:rPr lang="pl-PL" sz="1600" dirty="0" smtClean="0"/>
              <a:t>finansowych, </a:t>
            </a:r>
            <a:r>
              <a:rPr lang="pl-PL" sz="1600" dirty="0"/>
              <a:t>pod uwagę brane będą operacje, na które do 31 grudnia 2018 roku zostało udzielone wsparcie</a:t>
            </a:r>
            <a:r>
              <a:rPr lang="pl-PL" sz="1600" dirty="0" smtClean="0"/>
              <a:t>.</a:t>
            </a:r>
            <a:endParaRPr lang="pl-PL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495962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DRUGI ANEKS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/>
              <a:t>Jeżeli do 31 grudnia 2018 roku LGD:</a:t>
            </a:r>
            <a:endParaRPr lang="pl-PL" sz="2000" b="1" dirty="0"/>
          </a:p>
          <a:p>
            <a:pPr marL="285750" indent="-285750" algn="just">
              <a:buFont typeface="Arial" pitchFamily="34" charset="0"/>
              <a:buChar char="•"/>
            </a:pPr>
            <a:r>
              <a:rPr lang="pl-PL" dirty="0"/>
              <a:t>nie osiągnie co </a:t>
            </a:r>
            <a:r>
              <a:rPr lang="pl-PL" dirty="0" smtClean="0"/>
              <a:t>najmniej: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b="1" dirty="0" smtClean="0"/>
              <a:t>40</a:t>
            </a:r>
            <a:r>
              <a:rPr lang="pl-PL" b="1" dirty="0"/>
              <a:t>%</a:t>
            </a:r>
            <a:r>
              <a:rPr lang="pl-PL" dirty="0"/>
              <a:t> poziomu każdego ze wskaźników produktu </a:t>
            </a:r>
            <a:r>
              <a:rPr lang="pl-PL" dirty="0" smtClean="0"/>
              <a:t>oraz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b="1" dirty="0" smtClean="0"/>
              <a:t>60</a:t>
            </a:r>
            <a:r>
              <a:rPr lang="pl-PL" b="1" dirty="0"/>
              <a:t>%</a:t>
            </a:r>
            <a:r>
              <a:rPr lang="pl-PL" dirty="0"/>
              <a:t> średniego poziomu realizacji wszystkich wskaźników produktu</a:t>
            </a:r>
            <a:br>
              <a:rPr lang="pl-PL" dirty="0"/>
            </a:br>
            <a:r>
              <a:rPr lang="pl-PL" dirty="0"/>
              <a:t>obliczonego jako stosunek sumy poziomów realizacji każdego</a:t>
            </a:r>
            <a:br>
              <a:rPr lang="pl-PL" dirty="0"/>
            </a:br>
            <a:r>
              <a:rPr lang="pl-PL" dirty="0"/>
              <a:t>ze wskaźników produktu do liczby wskaźników produktu, przy czym do</a:t>
            </a:r>
            <a:br>
              <a:rPr lang="pl-PL" dirty="0"/>
            </a:br>
            <a:r>
              <a:rPr lang="pl-PL" dirty="0"/>
              <a:t>wyliczenia średniego poziomu realizacji wszystkich wskaźników</a:t>
            </a:r>
            <a:br>
              <a:rPr lang="pl-PL" dirty="0"/>
            </a:br>
            <a:r>
              <a:rPr lang="pl-PL" dirty="0"/>
              <a:t>produktu poziom wskaźników przewyższający wartość 100% przyjmuje</a:t>
            </a:r>
            <a:br>
              <a:rPr lang="pl-PL" dirty="0"/>
            </a:br>
            <a:r>
              <a:rPr lang="pl-PL" dirty="0"/>
              <a:t>się jako poziom 100%</a:t>
            </a:r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pl-PL" dirty="0" smtClean="0"/>
              <a:t>nie </a:t>
            </a:r>
            <a:r>
              <a:rPr lang="pl-PL" dirty="0"/>
              <a:t>wykorzysta co najmniej </a:t>
            </a:r>
            <a:r>
              <a:rPr lang="pl-PL" b="1" dirty="0"/>
              <a:t>60%</a:t>
            </a:r>
            <a:r>
              <a:rPr lang="pl-PL" dirty="0"/>
              <a:t> środków finansowych przeznaczonych na wsparcie realizacji operacji w ramach LSR w latach 2016-2018, a w przypadku, gdy LSR przewiduje finansowanie w </a:t>
            </a:r>
            <a:r>
              <a:rPr lang="pl-PL" dirty="0" smtClean="0"/>
              <a:t>ramach PROW</a:t>
            </a:r>
            <a:r>
              <a:rPr lang="pl-PL" dirty="0"/>
              <a:t>, </a:t>
            </a:r>
            <a:r>
              <a:rPr lang="pl-PL" dirty="0" smtClean="0"/>
              <a:t>dodatkowo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l-PL" dirty="0" smtClean="0"/>
              <a:t>nie </a:t>
            </a:r>
            <a:r>
              <a:rPr lang="pl-PL" dirty="0"/>
              <a:t>wykorzysta co najmniej </a:t>
            </a:r>
            <a:r>
              <a:rPr lang="pl-PL" b="1" dirty="0"/>
              <a:t>20%</a:t>
            </a:r>
            <a:r>
              <a:rPr lang="pl-PL" dirty="0"/>
              <a:t> środków finansowych przeznaczonych na utworzenie/utrzymanie miejsc pracy w ramach </a:t>
            </a:r>
            <a:r>
              <a:rPr lang="pl-PL" dirty="0" smtClean="0"/>
              <a:t>LSR,</a:t>
            </a:r>
            <a:endParaRPr lang="pl-PL" sz="2000" b="1" dirty="0"/>
          </a:p>
          <a:p>
            <a:pPr algn="just"/>
            <a:r>
              <a:rPr lang="pl-PL" dirty="0"/>
              <a:t>kwota określona w § 4 ust. 1 umowy w ramach danego funduszu ulega obniżeniu </a:t>
            </a:r>
            <a:br>
              <a:rPr lang="pl-PL" dirty="0"/>
            </a:br>
            <a:r>
              <a:rPr lang="pl-PL" dirty="0"/>
              <a:t>o </a:t>
            </a:r>
            <a:r>
              <a:rPr lang="pl-PL" b="1" dirty="0"/>
              <a:t>10 </a:t>
            </a:r>
            <a:r>
              <a:rPr lang="pl-PL" b="1" dirty="0" smtClean="0"/>
              <a:t>%</a:t>
            </a:r>
            <a:r>
              <a:rPr lang="pl-PL" dirty="0" smtClean="0"/>
              <a:t>.</a:t>
            </a:r>
            <a:endParaRPr lang="pl-PL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165092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Obraz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OSIĄGNIĘCIE KAMIENIA MILOWEGO</a:t>
            </a:r>
          </a:p>
        </p:txBody>
      </p:sp>
      <p:sp>
        <p:nvSpPr>
          <p:cNvPr id="12" name="Prostokąt 11"/>
          <p:cNvSpPr/>
          <p:nvPr/>
        </p:nvSpPr>
        <p:spPr>
          <a:xfrm>
            <a:off x="2843804" y="862147"/>
            <a:ext cx="2304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3" name="Prostokąt 12"/>
          <p:cNvSpPr/>
          <p:nvPr/>
        </p:nvSpPr>
        <p:spPr>
          <a:xfrm>
            <a:off x="5147804" y="862147"/>
            <a:ext cx="3456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4" name="Prostokąt 13"/>
          <p:cNvSpPr/>
          <p:nvPr/>
        </p:nvSpPr>
        <p:spPr>
          <a:xfrm>
            <a:off x="2838751" y="1512132"/>
            <a:ext cx="2304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5" name="Prostokąt 14"/>
          <p:cNvSpPr/>
          <p:nvPr/>
        </p:nvSpPr>
        <p:spPr>
          <a:xfrm>
            <a:off x="2838751" y="1188096"/>
            <a:ext cx="2304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Prostokąt 15"/>
          <p:cNvSpPr/>
          <p:nvPr/>
        </p:nvSpPr>
        <p:spPr>
          <a:xfrm>
            <a:off x="5147808" y="1188096"/>
            <a:ext cx="3456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Prostokąt 16"/>
          <p:cNvSpPr/>
          <p:nvPr/>
        </p:nvSpPr>
        <p:spPr>
          <a:xfrm>
            <a:off x="5142751" y="1512132"/>
            <a:ext cx="3456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8" name="Prostokąt 17"/>
          <p:cNvSpPr/>
          <p:nvPr/>
        </p:nvSpPr>
        <p:spPr>
          <a:xfrm>
            <a:off x="2820540" y="2664252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Prostokąt 18"/>
          <p:cNvSpPr/>
          <p:nvPr/>
        </p:nvSpPr>
        <p:spPr>
          <a:xfrm>
            <a:off x="6276540" y="2664252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0" name="Prostokąt 19"/>
          <p:cNvSpPr/>
          <p:nvPr/>
        </p:nvSpPr>
        <p:spPr>
          <a:xfrm>
            <a:off x="2820540" y="3893964"/>
            <a:ext cx="3456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1" name="Prostokąt 20"/>
          <p:cNvSpPr/>
          <p:nvPr/>
        </p:nvSpPr>
        <p:spPr>
          <a:xfrm>
            <a:off x="6276540" y="3893964"/>
            <a:ext cx="2304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Prostokąt 21"/>
          <p:cNvSpPr/>
          <p:nvPr/>
        </p:nvSpPr>
        <p:spPr>
          <a:xfrm>
            <a:off x="2820540" y="5130834"/>
            <a:ext cx="1152000" cy="324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3" name="Prostokąt 22"/>
          <p:cNvSpPr/>
          <p:nvPr/>
        </p:nvSpPr>
        <p:spPr>
          <a:xfrm>
            <a:off x="3972540" y="5130834"/>
            <a:ext cx="4608000" cy="324036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pole tekstowe 1"/>
          <p:cNvSpPr txBox="1"/>
          <p:nvPr/>
        </p:nvSpPr>
        <p:spPr>
          <a:xfrm>
            <a:off x="303200" y="843677"/>
            <a:ext cx="856757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 smtClean="0"/>
              <a:t>Wskaźnik 1:                                                 40%</a:t>
            </a:r>
          </a:p>
          <a:p>
            <a:pPr algn="just"/>
            <a:r>
              <a:rPr lang="pl-PL" sz="2000" dirty="0" smtClean="0"/>
              <a:t>Wskaźnik 2:                                                 40%</a:t>
            </a:r>
          </a:p>
          <a:p>
            <a:pPr algn="just"/>
            <a:r>
              <a:rPr lang="pl-PL" sz="2000" dirty="0" smtClean="0"/>
              <a:t>Wskaźnik n:                                                 40%</a:t>
            </a:r>
          </a:p>
          <a:p>
            <a:pPr algn="just"/>
            <a:endParaRPr lang="pl-PL" sz="2000" dirty="0" smtClean="0"/>
          </a:p>
          <a:p>
            <a:pPr algn="just"/>
            <a:r>
              <a:rPr lang="pl-PL" sz="2000" dirty="0"/>
              <a:t>l</a:t>
            </a:r>
            <a:r>
              <a:rPr lang="pl-PL" sz="2000" dirty="0" smtClean="0"/>
              <a:t>ub</a:t>
            </a:r>
          </a:p>
          <a:p>
            <a:pPr algn="just"/>
            <a:endParaRPr lang="pl-PL" sz="2000" dirty="0"/>
          </a:p>
          <a:p>
            <a:pPr algn="just"/>
            <a:r>
              <a:rPr lang="pl-PL" sz="2000" dirty="0" smtClean="0"/>
              <a:t>Wskaźniki:                                                                    60%</a:t>
            </a:r>
          </a:p>
          <a:p>
            <a:pPr algn="just"/>
            <a:endParaRPr lang="pl-PL" sz="2000" dirty="0" smtClean="0"/>
          </a:p>
          <a:p>
            <a:pPr algn="just"/>
            <a:endParaRPr lang="pl-PL" sz="2000" dirty="0" smtClean="0"/>
          </a:p>
          <a:p>
            <a:pPr algn="just"/>
            <a:endParaRPr lang="pl-PL" sz="2000" dirty="0"/>
          </a:p>
          <a:p>
            <a:pPr algn="just"/>
            <a:r>
              <a:rPr lang="pl-PL" sz="2000" dirty="0" smtClean="0"/>
              <a:t>Budżet 2018:                                                                60%</a:t>
            </a:r>
          </a:p>
          <a:p>
            <a:pPr algn="just"/>
            <a:endParaRPr lang="pl-PL" sz="2000" dirty="0" smtClean="0"/>
          </a:p>
          <a:p>
            <a:pPr algn="just"/>
            <a:endParaRPr lang="pl-PL" sz="2000" dirty="0" smtClean="0"/>
          </a:p>
          <a:p>
            <a:pPr algn="just"/>
            <a:endParaRPr lang="pl-PL" sz="2000" dirty="0"/>
          </a:p>
          <a:p>
            <a:pPr algn="just"/>
            <a:r>
              <a:rPr lang="pl-PL" sz="2000" dirty="0" smtClean="0"/>
              <a:t>Miejsca pracy </a:t>
            </a:r>
            <a:r>
              <a:rPr lang="pl-PL" sz="2000" b="1" u="sng" dirty="0" smtClean="0"/>
              <a:t>ALL</a:t>
            </a:r>
            <a:r>
              <a:rPr lang="pl-PL" sz="2000" dirty="0" smtClean="0"/>
              <a:t>:                     20%</a:t>
            </a:r>
          </a:p>
          <a:p>
            <a:pPr algn="just"/>
            <a:endParaRPr lang="pl-PL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864931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az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sp>
        <p:nvSpPr>
          <p:cNvPr id="20" name="Symbol zastępczy zawartości 2"/>
          <p:cNvSpPr txBox="1">
            <a:spLocks noGrp="1"/>
          </p:cNvSpPr>
          <p:nvPr>
            <p:ph idx="1"/>
          </p:nvPr>
        </p:nvSpPr>
        <p:spPr>
          <a:xfrm>
            <a:off x="360131" y="1026746"/>
            <a:ext cx="8153403" cy="4226192"/>
          </a:xfrm>
        </p:spPr>
        <p:txBody>
          <a:bodyPr/>
          <a:lstStyle/>
          <a:p>
            <a:pPr marL="0" lvl="0" indent="0">
              <a:buNone/>
            </a:pPr>
            <a:r>
              <a:rPr lang="pl-PL" sz="1800" dirty="0">
                <a:latin typeface="Arial" pitchFamily="34" charset="0"/>
                <a:cs typeface="Arial" pitchFamily="34" charset="0"/>
              </a:rPr>
              <a:t>Obniżeniu budżetów LSR w Polsce ulegnie </a:t>
            </a:r>
            <a:r>
              <a:rPr lang="pl-PL" sz="1800" b="1" dirty="0">
                <a:latin typeface="Arial" pitchFamily="34" charset="0"/>
                <a:cs typeface="Arial" pitchFamily="34" charset="0"/>
              </a:rPr>
              <a:t>18</a:t>
            </a:r>
            <a:r>
              <a:rPr lang="pl-PL" sz="1800" dirty="0">
                <a:latin typeface="Arial" pitchFamily="34" charset="0"/>
                <a:cs typeface="Arial" pitchFamily="34" charset="0"/>
              </a:rPr>
              <a:t> </a:t>
            </a:r>
            <a:r>
              <a:rPr lang="pl-PL" sz="1800" dirty="0" smtClean="0">
                <a:latin typeface="Arial" pitchFamily="34" charset="0"/>
                <a:cs typeface="Arial" pitchFamily="34" charset="0"/>
              </a:rPr>
              <a:t>LGD,</a:t>
            </a:r>
            <a:endParaRPr lang="pl-PL" sz="1800" dirty="0">
              <a:latin typeface="Arial" pitchFamily="34" charset="0"/>
              <a:cs typeface="Arial" pitchFamily="34" charset="0"/>
            </a:endParaRPr>
          </a:p>
          <a:p>
            <a:pPr marL="366710" lvl="1" indent="0">
              <a:buNone/>
            </a:pPr>
            <a:r>
              <a:rPr lang="pl-PL" sz="1800" dirty="0" smtClean="0">
                <a:latin typeface="Arial" pitchFamily="34" charset="0"/>
                <a:cs typeface="Arial" pitchFamily="34" charset="0"/>
              </a:rPr>
              <a:t>z </a:t>
            </a:r>
            <a:r>
              <a:rPr lang="pl-PL" sz="1800" dirty="0">
                <a:latin typeface="Arial" pitchFamily="34" charset="0"/>
                <a:cs typeface="Arial" pitchFamily="34" charset="0"/>
              </a:rPr>
              <a:t>czego: </a:t>
            </a:r>
          </a:p>
          <a:p>
            <a:pPr lvl="2"/>
            <a:r>
              <a:rPr lang="pl-PL" sz="1800" b="1" dirty="0">
                <a:latin typeface="Arial" pitchFamily="34" charset="0"/>
                <a:cs typeface="Arial" pitchFamily="34" charset="0"/>
              </a:rPr>
              <a:t>14</a:t>
            </a:r>
            <a:r>
              <a:rPr lang="pl-PL" sz="1800" dirty="0">
                <a:latin typeface="Arial" pitchFamily="34" charset="0"/>
                <a:cs typeface="Arial" pitchFamily="34" charset="0"/>
              </a:rPr>
              <a:t> LGD z powodu niespełnienia poziomu 60% </a:t>
            </a:r>
            <a:r>
              <a:rPr lang="pl-PL" sz="1800" dirty="0" smtClean="0">
                <a:latin typeface="Arial" pitchFamily="34" charset="0"/>
                <a:cs typeface="Arial" pitchFamily="34" charset="0"/>
              </a:rPr>
              <a:t>wydatków,</a:t>
            </a:r>
            <a:endParaRPr lang="pl-PL" sz="1800" dirty="0">
              <a:latin typeface="Arial" pitchFamily="34" charset="0"/>
              <a:cs typeface="Arial" pitchFamily="34" charset="0"/>
            </a:endParaRPr>
          </a:p>
          <a:p>
            <a:pPr lvl="2"/>
            <a:r>
              <a:rPr lang="pl-PL" sz="1800" b="1" dirty="0">
                <a:latin typeface="Arial" pitchFamily="34" charset="0"/>
                <a:cs typeface="Arial" pitchFamily="34" charset="0"/>
              </a:rPr>
              <a:t>5</a:t>
            </a:r>
            <a:r>
              <a:rPr lang="pl-PL" sz="1800" dirty="0">
                <a:latin typeface="Arial" pitchFamily="34" charset="0"/>
                <a:cs typeface="Arial" pitchFamily="34" charset="0"/>
              </a:rPr>
              <a:t> LGD z powodu niespełnienia poziomu 20% wydatków na utworzenie/utrzymanie miejsc </a:t>
            </a:r>
            <a:r>
              <a:rPr lang="pl-PL" sz="1800" dirty="0" smtClean="0">
                <a:latin typeface="Arial" pitchFamily="34" charset="0"/>
                <a:cs typeface="Arial" pitchFamily="34" charset="0"/>
              </a:rPr>
              <a:t>pracy,</a:t>
            </a:r>
            <a:endParaRPr lang="pl-PL" sz="1800" dirty="0">
              <a:latin typeface="Arial" pitchFamily="34" charset="0"/>
              <a:cs typeface="Arial" pitchFamily="34" charset="0"/>
            </a:endParaRPr>
          </a:p>
          <a:p>
            <a:pPr lvl="2"/>
            <a:r>
              <a:rPr lang="pl-PL" sz="1800" b="1" dirty="0">
                <a:latin typeface="Arial" pitchFamily="34" charset="0"/>
                <a:cs typeface="Arial" pitchFamily="34" charset="0"/>
              </a:rPr>
              <a:t>14</a:t>
            </a:r>
            <a:r>
              <a:rPr lang="pl-PL" sz="1800" dirty="0">
                <a:latin typeface="Arial" pitchFamily="34" charset="0"/>
                <a:cs typeface="Arial" pitchFamily="34" charset="0"/>
              </a:rPr>
              <a:t> LGD z powodu niespełnienia wskaźników </a:t>
            </a:r>
            <a:r>
              <a:rPr lang="pl-PL" sz="1800" dirty="0" smtClean="0">
                <a:latin typeface="Arial" pitchFamily="34" charset="0"/>
                <a:cs typeface="Arial" pitchFamily="34" charset="0"/>
              </a:rPr>
              <a:t>produktu.</a:t>
            </a:r>
            <a:endParaRPr lang="pl-PL" sz="1800" dirty="0">
              <a:latin typeface="Arial" pitchFamily="34" charset="0"/>
              <a:cs typeface="Arial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pl-PL" sz="1800" dirty="0" smtClean="0">
              <a:latin typeface="Arial" pitchFamily="34" charset="0"/>
              <a:cs typeface="Arial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r>
              <a:rPr lang="pl-PL" sz="1800" dirty="0" smtClean="0">
                <a:latin typeface="Arial" pitchFamily="34" charset="0"/>
                <a:cs typeface="Arial" pitchFamily="34" charset="0"/>
              </a:rPr>
              <a:t>Łącznie </a:t>
            </a:r>
            <a:r>
              <a:rPr lang="pl-PL" sz="1800" dirty="0">
                <a:latin typeface="Arial" pitchFamily="34" charset="0"/>
                <a:cs typeface="Arial" pitchFamily="34" charset="0"/>
              </a:rPr>
              <a:t>budżety LSR zostaną obniżone o </a:t>
            </a:r>
            <a:r>
              <a:rPr lang="pl-PL" sz="1800" dirty="0" smtClean="0">
                <a:latin typeface="Arial" pitchFamily="34" charset="0"/>
                <a:cs typeface="Arial" pitchFamily="34" charset="0"/>
              </a:rPr>
              <a:t>kwotę: </a:t>
            </a:r>
            <a:r>
              <a:rPr lang="pl-PL" sz="1800" dirty="0">
                <a:latin typeface="Arial" pitchFamily="34" charset="0"/>
                <a:cs typeface="Arial" pitchFamily="34" charset="0"/>
              </a:rPr>
              <a:t/>
            </a:r>
            <a:br>
              <a:rPr lang="pl-PL" sz="1800" dirty="0">
                <a:latin typeface="Arial" pitchFamily="34" charset="0"/>
                <a:cs typeface="Arial" pitchFamily="34" charset="0"/>
              </a:rPr>
            </a:br>
            <a:r>
              <a:rPr lang="pl-PL" sz="1800" dirty="0">
                <a:latin typeface="Arial" pitchFamily="34" charset="0"/>
                <a:cs typeface="Arial" pitchFamily="34" charset="0"/>
              </a:rPr>
              <a:t>~</a:t>
            </a:r>
            <a:r>
              <a:rPr lang="pl-PL" sz="1800" b="1" dirty="0">
                <a:latin typeface="Arial" pitchFamily="34" charset="0"/>
                <a:cs typeface="Arial" pitchFamily="34" charset="0"/>
              </a:rPr>
              <a:t>14 mln zł</a:t>
            </a:r>
          </a:p>
        </p:txBody>
      </p:sp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OBNIŻKI W POLS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73011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az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sp>
        <p:nvSpPr>
          <p:cNvPr id="12" name="Symbol zastępczy zawartości 2"/>
          <p:cNvSpPr txBox="1">
            <a:spLocks/>
          </p:cNvSpPr>
          <p:nvPr/>
        </p:nvSpPr>
        <p:spPr>
          <a:xfrm>
            <a:off x="471838" y="954738"/>
            <a:ext cx="8153403" cy="422619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800" dirty="0" smtClean="0">
                <a:latin typeface="Arial" pitchFamily="34" charset="0"/>
                <a:cs typeface="Arial" pitchFamily="34" charset="0"/>
              </a:rPr>
              <a:t>W następujących województwach nastąpi obniżenie budżetów LSR:</a:t>
            </a:r>
          </a:p>
          <a:p>
            <a:pPr marL="0" indent="0">
              <a:buNone/>
            </a:pPr>
            <a:endParaRPr lang="pl-PL" sz="1800" dirty="0" smtClean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Dolnośląskie – 1 grupa,</a:t>
            </a: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Kujawsko-pomorskie – 1 grupa,</a:t>
            </a: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Lubelskie – 2 grupy,</a:t>
            </a: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Łódzkie – 3 grupy,</a:t>
            </a: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Małopolskie – 2 grupy,</a:t>
            </a: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Mazowieckie – 3 grupy,</a:t>
            </a: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Śląskie – 2 grupy,</a:t>
            </a: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Wielkopolskie – 2</a:t>
            </a:r>
            <a:r>
              <a:rPr lang="pl-PL" sz="1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1800" dirty="0" smtClean="0">
                <a:latin typeface="Arial" pitchFamily="34" charset="0"/>
                <a:cs typeface="Arial" pitchFamily="34" charset="0"/>
              </a:rPr>
              <a:t>grupy,</a:t>
            </a: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Warmińsko-mazurskie – 1 grupa,</a:t>
            </a:r>
          </a:p>
          <a:p>
            <a:pPr lvl="1"/>
            <a:r>
              <a:rPr lang="pl-PL" sz="1800" dirty="0" smtClean="0">
                <a:latin typeface="Arial" pitchFamily="34" charset="0"/>
                <a:cs typeface="Arial" pitchFamily="34" charset="0"/>
              </a:rPr>
              <a:t>Zachodniopomorskie – 1 grupa.</a:t>
            </a:r>
            <a:endParaRPr lang="pl-PL" sz="1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OBNIŻKI W POLS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302522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rgbClr val="FFFFFF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rgbClr val="FFFFFF"/>
                </a:solidFill>
              </a:rPr>
              <a:t>Kamień milowy 2018</a:t>
            </a:r>
          </a:p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rgbClr val="FFFFFF"/>
                </a:solidFill>
              </a:rPr>
              <a:t>Bonusy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99180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heme/theme1.xml><?xml version="1.0" encoding="utf-8"?>
<a:theme xmlns:a="http://schemas.openxmlformats.org/drawingml/2006/main" name="początk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2_czerwony">
  <a:themeElements>
    <a:clrScheme name="1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czerwony">
  <a:themeElements>
    <a:clrScheme name="1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czerwony">
  <a:themeElements>
    <a:clrScheme name="1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czerwony">
  <a:themeElements>
    <a:clrScheme name="1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5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czerwony">
  <a:themeElements>
    <a:clrScheme name="1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czerwony">
  <a:themeElements>
    <a:clrScheme name="1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8_czerwony">
  <a:themeElements>
    <a:clrScheme name="1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9_czerwony">
  <a:themeElements>
    <a:clrScheme name="1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_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_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1_czerwony">
  <a:themeElements>
    <a:clrScheme name="2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1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2_czerwony">
  <a:themeElements>
    <a:clrScheme name="2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3_czerwony">
  <a:themeElements>
    <a:clrScheme name="2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3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czerwony">
  <a:themeElements>
    <a:clrScheme name="2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5_czerwony">
  <a:themeElements>
    <a:clrScheme name="2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5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0_czerwony">
  <a:themeElements>
    <a:clrScheme name="2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6_czerwony">
  <a:themeElements>
    <a:clrScheme name="2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7_czerwony">
  <a:themeElements>
    <a:clrScheme name="2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7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_zielony">
  <a:themeElements>
    <a:clrScheme name="3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_zielony">
  <a:themeElements>
    <a:clrScheme name="4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4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zerwony">
  <a:themeElements>
    <a:clrScheme name="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5_zielony">
  <a:themeElements>
    <a:clrScheme name="5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6_zielony">
  <a:themeElements>
    <a:clrScheme name="6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Projekt domyślny">
  <a:themeElements>
    <a:clrScheme name="Projekt domyśln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ojekt domyśln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jekt domyśl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7_ziel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ziel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28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8_czerw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czerwony">
  <a:themeElements>
    <a:clrScheme name="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czerwony">
  <a:themeElements>
    <a:clrScheme name="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czerwony">
  <a:themeElements>
    <a:clrScheme name="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zerwony">
  <a:themeElements>
    <a:clrScheme name="1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zerwony">
  <a:themeElements>
    <a:clrScheme name="1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92</TotalTime>
  <Words>1196</Words>
  <Application>Microsoft Office PowerPoint</Application>
  <PresentationFormat>Pokaz na ekranie (4:3)</PresentationFormat>
  <Paragraphs>176</Paragraphs>
  <Slides>15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44</vt:i4>
      </vt:variant>
      <vt:variant>
        <vt:lpstr>Tytuły slajdów</vt:lpstr>
      </vt:variant>
      <vt:variant>
        <vt:i4>15</vt:i4>
      </vt:variant>
    </vt:vector>
  </HeadingPairs>
  <TitlesOfParts>
    <vt:vector size="64" baseType="lpstr">
      <vt:lpstr>Arial</vt:lpstr>
      <vt:lpstr>Calibri</vt:lpstr>
      <vt:lpstr>Gabriola</vt:lpstr>
      <vt:lpstr>Segoe UI</vt:lpstr>
      <vt:lpstr>Tahoma</vt:lpstr>
      <vt:lpstr>początkowy</vt:lpstr>
      <vt:lpstr>1_czerwony</vt:lpstr>
      <vt:lpstr>3_czerwony</vt:lpstr>
      <vt:lpstr>6_czerwony</vt:lpstr>
      <vt:lpstr>7_czerwony</vt:lpstr>
      <vt:lpstr>8_czerwony</vt:lpstr>
      <vt:lpstr>9_czerwony</vt:lpstr>
      <vt:lpstr>10_czerwony</vt:lpstr>
      <vt:lpstr>11_czerwony</vt:lpstr>
      <vt:lpstr>12_czerwony</vt:lpstr>
      <vt:lpstr>13_czerwony</vt:lpstr>
      <vt:lpstr>14_czerwony</vt:lpstr>
      <vt:lpstr>15_czerwony</vt:lpstr>
      <vt:lpstr>16_czerwony</vt:lpstr>
      <vt:lpstr>17_czerwony</vt:lpstr>
      <vt:lpstr>18_czerwony</vt:lpstr>
      <vt:lpstr>19_czerwony</vt:lpstr>
      <vt:lpstr>pomarańczowy</vt:lpstr>
      <vt:lpstr>1_pomarańczowy</vt:lpstr>
      <vt:lpstr>żółty</vt:lpstr>
      <vt:lpstr>1_żółty</vt:lpstr>
      <vt:lpstr>różowy</vt:lpstr>
      <vt:lpstr>1_różowy</vt:lpstr>
      <vt:lpstr>granatowy</vt:lpstr>
      <vt:lpstr>1_granatowy</vt:lpstr>
      <vt:lpstr>turkusowy</vt:lpstr>
      <vt:lpstr>1_turkusowy</vt:lpstr>
      <vt:lpstr>końcowy</vt:lpstr>
      <vt:lpstr>1_końcowy</vt:lpstr>
      <vt:lpstr>21_czerwony</vt:lpstr>
      <vt:lpstr>22_czerwony</vt:lpstr>
      <vt:lpstr>23_czerwony</vt:lpstr>
      <vt:lpstr>24_czerwony</vt:lpstr>
      <vt:lpstr>25_czerwony</vt:lpstr>
      <vt:lpstr>20_czerwony</vt:lpstr>
      <vt:lpstr>26_czerwony</vt:lpstr>
      <vt:lpstr>27_czerwony</vt:lpstr>
      <vt:lpstr>3_zielony</vt:lpstr>
      <vt:lpstr>4_zielony</vt:lpstr>
      <vt:lpstr>5_zielony</vt:lpstr>
      <vt:lpstr>6_zielony</vt:lpstr>
      <vt:lpstr>Projekt domyślny</vt:lpstr>
      <vt:lpstr>7_zielony</vt:lpstr>
      <vt:lpstr>28_czerwony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onika Kornacka</dc:creator>
  <cp:lastModifiedBy>Michał Kosmowski</cp:lastModifiedBy>
  <cp:revision>387</cp:revision>
  <cp:lastPrinted>2018-05-18T10:44:48Z</cp:lastPrinted>
  <dcterms:created xsi:type="dcterms:W3CDTF">2013-04-03T19:48:29Z</dcterms:created>
  <dcterms:modified xsi:type="dcterms:W3CDTF">2019-03-25T07:39:30Z</dcterms:modified>
</cp:coreProperties>
</file>